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02" r:id="rId1"/>
  </p:sldMasterIdLst>
  <p:notesMasterIdLst>
    <p:notesMasterId r:id="rId40"/>
  </p:notesMasterIdLst>
  <p:sldIdLst>
    <p:sldId id="256" r:id="rId2"/>
    <p:sldId id="272" r:id="rId3"/>
    <p:sldId id="267" r:id="rId4"/>
    <p:sldId id="266" r:id="rId5"/>
    <p:sldId id="285" r:id="rId6"/>
    <p:sldId id="260" r:id="rId7"/>
    <p:sldId id="275" r:id="rId8"/>
    <p:sldId id="261" r:id="rId9"/>
    <p:sldId id="273" r:id="rId10"/>
    <p:sldId id="274" r:id="rId11"/>
    <p:sldId id="271" r:id="rId12"/>
    <p:sldId id="276" r:id="rId13"/>
    <p:sldId id="280" r:id="rId14"/>
    <p:sldId id="281" r:id="rId15"/>
    <p:sldId id="282" r:id="rId16"/>
    <p:sldId id="283" r:id="rId17"/>
    <p:sldId id="286" r:id="rId18"/>
    <p:sldId id="296" r:id="rId19"/>
    <p:sldId id="288" r:id="rId20"/>
    <p:sldId id="297" r:id="rId21"/>
    <p:sldId id="289" r:id="rId22"/>
    <p:sldId id="298" r:id="rId23"/>
    <p:sldId id="299" r:id="rId24"/>
    <p:sldId id="291" r:id="rId25"/>
    <p:sldId id="295" r:id="rId26"/>
    <p:sldId id="292" r:id="rId27"/>
    <p:sldId id="293" r:id="rId28"/>
    <p:sldId id="277" r:id="rId29"/>
    <p:sldId id="279" r:id="rId30"/>
    <p:sldId id="278" r:id="rId31"/>
    <p:sldId id="290" r:id="rId32"/>
    <p:sldId id="269" r:id="rId33"/>
    <p:sldId id="263" r:id="rId34"/>
    <p:sldId id="258" r:id="rId35"/>
    <p:sldId id="270" r:id="rId36"/>
    <p:sldId id="284" r:id="rId37"/>
    <p:sldId id="257" r:id="rId38"/>
    <p:sldId id="268" r:id="rId39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F08D6A4-8942-489C-BD56-87CE9B237A54}">
          <p14:sldIdLst>
            <p14:sldId id="256"/>
          </p14:sldIdLst>
        </p14:section>
        <p14:section name="project management" id="{3EDC1F3D-5E79-4EDB-9A00-B68094202876}">
          <p14:sldIdLst>
            <p14:sldId id="272"/>
            <p14:sldId id="267"/>
            <p14:sldId id="266"/>
            <p14:sldId id="285"/>
          </p14:sldIdLst>
        </p14:section>
        <p14:section name="background" id="{734442C7-9DFA-4163-AB0C-F6E41907FEF9}">
          <p14:sldIdLst>
            <p14:sldId id="260"/>
            <p14:sldId id="275"/>
            <p14:sldId id="261"/>
            <p14:sldId id="273"/>
            <p14:sldId id="274"/>
            <p14:sldId id="271"/>
            <p14:sldId id="276"/>
          </p14:sldIdLst>
        </p14:section>
        <p14:section name="model comparison" id="{F8E6AF8F-3C53-41C9-8FE5-0CD2B05328EF}">
          <p14:sldIdLst>
            <p14:sldId id="280"/>
            <p14:sldId id="281"/>
            <p14:sldId id="282"/>
            <p14:sldId id="283"/>
          </p14:sldIdLst>
        </p14:section>
        <p14:section name="Same Split" id="{5173126D-3102-41C8-A6A3-9CBAE2938795}">
          <p14:sldIdLst>
            <p14:sldId id="286"/>
            <p14:sldId id="296"/>
            <p14:sldId id="288"/>
            <p14:sldId id="297"/>
            <p14:sldId id="289"/>
            <p14:sldId id="298"/>
            <p14:sldId id="299"/>
          </p14:sldIdLst>
        </p14:section>
        <p14:section name="Transformation and leaky data" id="{A9654551-66A8-46E1-A952-47B22CF6C4D7}">
          <p14:sldIdLst>
            <p14:sldId id="291"/>
            <p14:sldId id="295"/>
            <p14:sldId id="292"/>
            <p14:sldId id="293"/>
          </p14:sldIdLst>
        </p14:section>
        <p14:section name="Notes" id="{BD5F37D2-34EC-4962-982B-3F5187946EDA}">
          <p14:sldIdLst>
            <p14:sldId id="277"/>
            <p14:sldId id="279"/>
            <p14:sldId id="278"/>
            <p14:sldId id="290"/>
            <p14:sldId id="269"/>
            <p14:sldId id="263"/>
            <p14:sldId id="258"/>
            <p14:sldId id="270"/>
            <p14:sldId id="284"/>
            <p14:sldId id="257"/>
            <p14:sldId id="26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7595A3-DF19-4933-9F05-B7C6B0E16F85}" v="99" dt="2022-01-31T10:37:43.1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854" autoAdjust="0"/>
    <p:restoredTop sz="84673" autoAdjust="0"/>
  </p:normalViewPr>
  <p:slideViewPr>
    <p:cSldViewPr snapToGrid="0">
      <p:cViewPr varScale="1">
        <p:scale>
          <a:sx n="72" d="100"/>
          <a:sy n="72" d="100"/>
        </p:scale>
        <p:origin x="8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microsoft.com/office/2015/10/relationships/revisionInfo" Target="revisionInfo.xml"/><Relationship Id="rId20" Type="http://schemas.openxmlformats.org/officeDocument/2006/relationships/slide" Target="slides/slide19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nnifer Neumaier" userId="8a9c6d71be663e1f" providerId="LiveId" clId="{267595A3-DF19-4933-9F05-B7C6B0E16F85}"/>
    <pc:docChg chg="undo custSel addSld delSld modSld sldOrd modMainMaster modNotesMaster">
      <pc:chgData name="Jennifer Neumaier" userId="8a9c6d71be663e1f" providerId="LiveId" clId="{267595A3-DF19-4933-9F05-B7C6B0E16F85}" dt="2022-01-31T17:05:23.580" v="4251" actId="20577"/>
      <pc:docMkLst>
        <pc:docMk/>
      </pc:docMkLst>
      <pc:sldChg chg="modSp mod">
        <pc:chgData name="Jennifer Neumaier" userId="8a9c6d71be663e1f" providerId="LiveId" clId="{267595A3-DF19-4933-9F05-B7C6B0E16F85}" dt="2022-01-21T23:43:08.262" v="2667" actId="20577"/>
        <pc:sldMkLst>
          <pc:docMk/>
          <pc:sldMk cId="2824071587" sldId="256"/>
        </pc:sldMkLst>
        <pc:spChg chg="mod">
          <ac:chgData name="Jennifer Neumaier" userId="8a9c6d71be663e1f" providerId="LiveId" clId="{267595A3-DF19-4933-9F05-B7C6B0E16F85}" dt="2022-01-21T23:43:08.262" v="2667" actId="20577"/>
          <ac:spMkLst>
            <pc:docMk/>
            <pc:sldMk cId="2824071587" sldId="256"/>
            <ac:spMk id="2" creationId="{0ABC874F-21CE-4E2C-A949-8C08F87EAC5E}"/>
          </ac:spMkLst>
        </pc:spChg>
        <pc:spChg chg="mod">
          <ac:chgData name="Jennifer Neumaier" userId="8a9c6d71be663e1f" providerId="LiveId" clId="{267595A3-DF19-4933-9F05-B7C6B0E16F85}" dt="2022-01-21T23:38:04.296" v="2555" actId="20577"/>
          <ac:spMkLst>
            <pc:docMk/>
            <pc:sldMk cId="2824071587" sldId="256"/>
            <ac:spMk id="3" creationId="{EB1BCE06-5FC2-4E63-8EA1-E3334219069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4" creationId="{3FEAB986-00F9-4BE8-BFFC-4F3BAAE5B77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5" creationId="{0C651C56-16B6-4F5E-A041-74AD2110478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6" creationId="{49D646EB-60D9-4765-998D-51D7F994A1F3}"/>
          </ac:spMkLst>
        </pc:spChg>
      </pc:sldChg>
      <pc:sldChg chg="modSp mod">
        <pc:chgData name="Jennifer Neumaier" userId="8a9c6d71be663e1f" providerId="LiveId" clId="{267595A3-DF19-4933-9F05-B7C6B0E16F85}" dt="2022-01-21T23:42:45.906" v="2639" actId="113"/>
        <pc:sldMkLst>
          <pc:docMk/>
          <pc:sldMk cId="2900572126" sldId="257"/>
        </pc:sldMkLst>
        <pc:spChg chg="mod">
          <ac:chgData name="Jennifer Neumaier" userId="8a9c6d71be663e1f" providerId="LiveId" clId="{267595A3-DF19-4933-9F05-B7C6B0E16F85}" dt="2022-01-21T23:42:45.906" v="2639" actId="113"/>
          <ac:spMkLst>
            <pc:docMk/>
            <pc:sldMk cId="2900572126" sldId="257"/>
            <ac:spMk id="2" creationId="{B0A21C35-E073-46BF-B8BA-AD632020DA6A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3" creationId="{47101FB2-294E-49F4-830F-4590B26163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4" creationId="{6EC31B32-BDB7-4E4F-ABF6-074F07CBA3E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5" creationId="{B58E6EF9-C928-441B-8DAA-81DBD51CC12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6" creationId="{60FA85C6-0C31-406E-9635-38232E74BF73}"/>
          </ac:spMkLst>
        </pc:spChg>
      </pc:sldChg>
      <pc:sldChg chg="modSp new mod ord">
        <pc:chgData name="Jennifer Neumaier" userId="8a9c6d71be663e1f" providerId="LiveId" clId="{267595A3-DF19-4933-9F05-B7C6B0E16F85}" dt="2022-01-21T23:42:42.213" v="2638" actId="113"/>
        <pc:sldMkLst>
          <pc:docMk/>
          <pc:sldMk cId="1795355039" sldId="258"/>
        </pc:sldMkLst>
        <pc:spChg chg="mod">
          <ac:chgData name="Jennifer Neumaier" userId="8a9c6d71be663e1f" providerId="LiveId" clId="{267595A3-DF19-4933-9F05-B7C6B0E16F85}" dt="2022-01-21T23:42:42.213" v="2638" actId="113"/>
          <ac:spMkLst>
            <pc:docMk/>
            <pc:sldMk cId="1795355039" sldId="258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3" creationId="{D4D56813-9DF8-4D28-B156-1DE48E95DBC2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4" creationId="{D53DB4F4-84EC-4588-88E6-8D8519D6A1E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5" creationId="{A7F3346A-3F24-484B-A6D3-55D66520C917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6" creationId="{C4B3B4A6-E708-4F88-8CA2-BDE8FCF0C0AC}"/>
          </ac:spMkLst>
        </pc:spChg>
      </pc:sldChg>
      <pc:sldChg chg="addSp delSp modSp new mod ord modClrScheme chgLayout">
        <pc:chgData name="Jennifer Neumaier" userId="8a9c6d71be663e1f" providerId="LiveId" clId="{267595A3-DF19-4933-9F05-B7C6B0E16F85}" dt="2022-01-21T23:42:15.455" v="2628" actId="113"/>
        <pc:sldMkLst>
          <pc:docMk/>
          <pc:sldMk cId="3936223041" sldId="259"/>
        </pc:sldMkLst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2" creationId="{899FC3D8-90EE-4EB9-A9D5-FCC916074AB6}"/>
          </ac:spMkLst>
        </pc:spChg>
        <pc:spChg chg="del">
          <ac:chgData name="Jennifer Neumaier" userId="8a9c6d71be663e1f" providerId="LiveId" clId="{267595A3-DF19-4933-9F05-B7C6B0E16F85}" dt="2022-01-17T10:33:45.209" v="100" actId="478"/>
          <ac:spMkLst>
            <pc:docMk/>
            <pc:sldMk cId="3936223041" sldId="259"/>
            <ac:spMk id="2" creationId="{AA028ACD-8560-4527-B82F-62B5C5B7D25B}"/>
          </ac:spMkLst>
        </pc:spChg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3" creationId="{297144FB-5AF4-4697-9FB4-BAAA8DF0DAC8}"/>
          </ac:spMkLst>
        </pc:spChg>
        <pc:spChg chg="del">
          <ac:chgData name="Jennifer Neumaier" userId="8a9c6d71be663e1f" providerId="LiveId" clId="{267595A3-DF19-4933-9F05-B7C6B0E16F85}" dt="2022-01-17T10:33:47.345" v="101" actId="478"/>
          <ac:spMkLst>
            <pc:docMk/>
            <pc:sldMk cId="3936223041" sldId="259"/>
            <ac:spMk id="3" creationId="{5CA07C9F-BD64-4028-A389-A14B4B2804E6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4" creationId="{19AEB51F-EF47-481B-A701-CEB6446A929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5" creationId="{25BA0F97-EA8C-46C6-B451-09850EA471C0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6" creationId="{FD07B78E-FBDB-40FF-B0F1-7EB25A7116A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7" creationId="{DF5957F2-E2C2-4B71-92F3-196339D9DBFD}"/>
          </ac:spMkLst>
        </pc:spChg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8" creationId="{0EDD2C64-4C29-4476-ABF6-96B082C0E166}"/>
          </ac:spMkLst>
        </pc:spChg>
        <pc:spChg chg="add del mod">
          <ac:chgData name="Jennifer Neumaier" userId="8a9c6d71be663e1f" providerId="LiveId" clId="{267595A3-DF19-4933-9F05-B7C6B0E16F85}" dt="2022-01-17T10:39:01.669" v="535" actId="478"/>
          <ac:spMkLst>
            <pc:docMk/>
            <pc:sldMk cId="3936223041" sldId="259"/>
            <ac:spMk id="8" creationId="{55DB1BF0-B6E9-4BB8-AB96-77F222093086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9" creationId="{AF395A31-1AA9-4548-9490-A5B7D7E0C44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0" creationId="{6CDDAEFD-D522-441D-B0CF-CC69ED6955B7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1" creationId="{E153A95E-3A53-4F3F-8BDB-5032675C06D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2" creationId="{D148E5F8-6CDD-4308-861A-0A222C612C69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3" creationId="{C64DA32C-D953-4134-867D-B64CD8CE5457}"/>
          </ac:spMkLst>
        </pc:spChg>
        <pc:spChg chg="add del mod">
          <ac:chgData name="Jennifer Neumaier" userId="8a9c6d71be663e1f" providerId="LiveId" clId="{267595A3-DF19-4933-9F05-B7C6B0E16F85}" dt="2022-01-21T23:39:23.023" v="2582" actId="478"/>
          <ac:spMkLst>
            <pc:docMk/>
            <pc:sldMk cId="3936223041" sldId="259"/>
            <ac:spMk id="14" creationId="{FCD9475A-D293-4ADA-BC69-9073C395FF4A}"/>
          </ac:spMkLst>
        </pc:spChg>
        <pc:spChg chg="add mod">
          <ac:chgData name="Jennifer Neumaier" userId="8a9c6d71be663e1f" providerId="LiveId" clId="{267595A3-DF19-4933-9F05-B7C6B0E16F85}" dt="2022-01-21T23:39:33.565" v="2586" actId="1076"/>
          <ac:spMkLst>
            <pc:docMk/>
            <pc:sldMk cId="3936223041" sldId="259"/>
            <ac:spMk id="15" creationId="{6E4228DE-B601-4206-9BC4-28B7033985AF}"/>
          </ac:spMkLst>
        </pc:spChg>
        <pc:spChg chg="add mod ord">
          <ac:chgData name="Jennifer Neumaier" userId="8a9c6d71be663e1f" providerId="LiveId" clId="{267595A3-DF19-4933-9F05-B7C6B0E16F85}" dt="2022-01-21T23:42:15.455" v="2628" actId="113"/>
          <ac:spMkLst>
            <pc:docMk/>
            <pc:sldMk cId="3936223041" sldId="259"/>
            <ac:spMk id="16" creationId="{BFD68236-2DF3-4941-ABB4-93B649770EEF}"/>
          </ac:spMkLst>
        </pc:spChg>
      </pc:sldChg>
      <pc:sldChg chg="addSp delSp modSp new mod ord">
        <pc:chgData name="Jennifer Neumaier" userId="8a9c6d71be663e1f" providerId="LiveId" clId="{267595A3-DF19-4933-9F05-B7C6B0E16F85}" dt="2022-01-21T23:42:19.812" v="2629" actId="113"/>
        <pc:sldMkLst>
          <pc:docMk/>
          <pc:sldMk cId="666575347" sldId="260"/>
        </pc:sldMkLst>
        <pc:spChg chg="mod">
          <ac:chgData name="Jennifer Neumaier" userId="8a9c6d71be663e1f" providerId="LiveId" clId="{267595A3-DF19-4933-9F05-B7C6B0E16F85}" dt="2022-01-21T23:42:19.812" v="2629" actId="113"/>
          <ac:spMkLst>
            <pc:docMk/>
            <pc:sldMk cId="666575347" sldId="260"/>
            <ac:spMk id="2" creationId="{150EAB59-F93C-4B56-AD7E-A9B5BD800221}"/>
          </ac:spMkLst>
        </pc:spChg>
        <pc:spChg chg="del">
          <ac:chgData name="Jennifer Neumaier" userId="8a9c6d71be663e1f" providerId="LiveId" clId="{267595A3-DF19-4933-9F05-B7C6B0E16F85}" dt="2022-01-17T10:52:50.375" v="899" actId="478"/>
          <ac:spMkLst>
            <pc:docMk/>
            <pc:sldMk cId="666575347" sldId="260"/>
            <ac:spMk id="3" creationId="{31C13BFE-343A-48EB-ABFE-6EF956013E2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3" creationId="{31C530B3-5BB1-4B06-9554-427D14B8DC2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4" creationId="{3073EBA1-6BA1-4D66-BD1A-CFA0915090B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6" creationId="{2440A761-393E-4509-B31E-FD3F25C908C9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5" creationId="{882445A0-FBDD-49F9-BDCD-D67EFB0BB69F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7" creationId="{FD8293BF-EA88-4691-AC28-4FAA12265463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9" creationId="{2C27E494-A0F7-4C1C-B029-AC046AC5AC3C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11" creationId="{E6AF186B-75DD-4E32-9EC7-7F154D79BA35}"/>
          </ac:picMkLst>
        </pc:picChg>
      </pc:sldChg>
      <pc:sldChg chg="addSp delSp modSp add mod">
        <pc:chgData name="Jennifer Neumaier" userId="8a9c6d71be663e1f" providerId="LiveId" clId="{267595A3-DF19-4933-9F05-B7C6B0E16F85}" dt="2022-01-21T23:42:27.170" v="2632" actId="113"/>
        <pc:sldMkLst>
          <pc:docMk/>
          <pc:sldMk cId="3413697882" sldId="261"/>
        </pc:sldMkLst>
        <pc:spChg chg="mod">
          <ac:chgData name="Jennifer Neumaier" userId="8a9c6d71be663e1f" providerId="LiveId" clId="{267595A3-DF19-4933-9F05-B7C6B0E16F85}" dt="2022-01-21T23:42:27.170" v="2632" actId="113"/>
          <ac:spMkLst>
            <pc:docMk/>
            <pc:sldMk cId="3413697882" sldId="261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3" creationId="{D5C56A3D-FA67-4204-8A9D-9717BD9645B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5" creationId="{A2C4EC76-6B75-4A77-8E51-985F9C51AC6B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6" creationId="{B6CE0B61-E8BA-45E6-B83B-10673374D0F5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7" creationId="{B8DBAC31-7442-4B6D-A796-BB5AC987388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11" creationId="{F3365DFD-40BD-4CEF-A161-CB40681CC02B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14" creationId="{3EAD9CF1-4E6F-4D34-A8EC-634E40519E11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4" creationId="{91F18563-12CA-475D-B6B0-8E0C32A6DE16}"/>
          </ac:picMkLst>
        </pc:picChg>
        <pc:picChg chg="del">
          <ac:chgData name="Jennifer Neumaier" userId="8a9c6d71be663e1f" providerId="LiveId" clId="{267595A3-DF19-4933-9F05-B7C6B0E16F85}" dt="2022-01-17T10:55:06.285" v="941" actId="478"/>
          <ac:picMkLst>
            <pc:docMk/>
            <pc:sldMk cId="3413697882" sldId="261"/>
            <ac:picMk id="5" creationId="{882445A0-FBDD-49F9-BDCD-D67EFB0BB69F}"/>
          </ac:picMkLst>
        </pc:picChg>
        <pc:picChg chg="del">
          <ac:chgData name="Jennifer Neumaier" userId="8a9c6d71be663e1f" providerId="LiveId" clId="{267595A3-DF19-4933-9F05-B7C6B0E16F85}" dt="2022-01-17T10:55:06.285" v="941" actId="478"/>
          <ac:picMkLst>
            <pc:docMk/>
            <pc:sldMk cId="3413697882" sldId="261"/>
            <ac:picMk id="7" creationId="{FD8293BF-EA88-4691-AC28-4FAA12265463}"/>
          </ac:picMkLst>
        </pc:picChg>
        <pc:picChg chg="del">
          <ac:chgData name="Jennifer Neumaier" userId="8a9c6d71be663e1f" providerId="LiveId" clId="{267595A3-DF19-4933-9F05-B7C6B0E16F85}" dt="2022-01-17T10:55:07.387" v="942" actId="478"/>
          <ac:picMkLst>
            <pc:docMk/>
            <pc:sldMk cId="3413697882" sldId="261"/>
            <ac:picMk id="9" creationId="{2C27E494-A0F7-4C1C-B029-AC046AC5AC3C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10" creationId="{543A1EDF-ABED-4BFF-BC66-F67E7C8DF118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13" creationId="{D9BD1502-4B6E-4DAA-BA78-2CE1C9E68735}"/>
          </ac:picMkLst>
        </pc:picChg>
      </pc:sldChg>
      <pc:sldChg chg="addSp delSp modSp new mod modNotes modNotesTx">
        <pc:chgData name="Jennifer Neumaier" userId="8a9c6d71be663e1f" providerId="LiveId" clId="{267595A3-DF19-4933-9F05-B7C6B0E16F85}" dt="2022-01-28T08:46:05.640" v="3191" actId="1076"/>
        <pc:sldMkLst>
          <pc:docMk/>
          <pc:sldMk cId="2008665049" sldId="262"/>
        </pc:sldMkLst>
        <pc:spChg chg="mod">
          <ac:chgData name="Jennifer Neumaier" userId="8a9c6d71be663e1f" providerId="LiveId" clId="{267595A3-DF19-4933-9F05-B7C6B0E16F85}" dt="2022-01-21T23:42:38.669" v="2637" actId="113"/>
          <ac:spMkLst>
            <pc:docMk/>
            <pc:sldMk cId="2008665049" sldId="262"/>
            <ac:spMk id="2" creationId="{123C772C-5A46-4C97-B7EE-455153B86A6C}"/>
          </ac:spMkLst>
        </pc:spChg>
        <pc:spChg chg="del">
          <ac:chgData name="Jennifer Neumaier" userId="8a9c6d71be663e1f" providerId="LiveId" clId="{267595A3-DF19-4933-9F05-B7C6B0E16F85}" dt="2022-01-17T11:30:40.342" v="1116" actId="478"/>
          <ac:spMkLst>
            <pc:docMk/>
            <pc:sldMk cId="2008665049" sldId="262"/>
            <ac:spMk id="3" creationId="{2CB61F6E-1FF0-4864-9B42-E240E3DF393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" creationId="{E7D4DE94-7933-4C7F-99DA-ADCF7A8B527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4" creationId="{5C3D952B-DE23-4A22-8904-45D729794FE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5" creationId="{072CF56B-5702-422D-A250-5AA0B558BE13}"/>
          </ac:spMkLst>
        </pc:spChg>
        <pc:spChg chg="add mod">
          <ac:chgData name="Jennifer Neumaier" userId="8a9c6d71be663e1f" providerId="LiveId" clId="{267595A3-DF19-4933-9F05-B7C6B0E16F85}" dt="2022-01-28T08:46:01.024" v="3189" actId="1076"/>
          <ac:spMkLst>
            <pc:docMk/>
            <pc:sldMk cId="2008665049" sldId="262"/>
            <ac:spMk id="6" creationId="{CB89C3B2-3707-4A4E-A936-B5106E976BCC}"/>
          </ac:spMkLst>
        </pc:spChg>
        <pc:spChg chg="add mod">
          <ac:chgData name="Jennifer Neumaier" userId="8a9c6d71be663e1f" providerId="LiveId" clId="{267595A3-DF19-4933-9F05-B7C6B0E16F85}" dt="2022-01-24T14:01:39.444" v="3043" actId="1076"/>
          <ac:spMkLst>
            <pc:docMk/>
            <pc:sldMk cId="2008665049" sldId="262"/>
            <ac:spMk id="7" creationId="{D8A77200-8497-4C05-B335-004D2448751E}"/>
          </ac:spMkLst>
        </pc:spChg>
        <pc:spChg chg="add mod">
          <ac:chgData name="Jennifer Neumaier" userId="8a9c6d71be663e1f" providerId="LiveId" clId="{267595A3-DF19-4933-9F05-B7C6B0E16F85}" dt="2022-01-28T08:46:05.640" v="3191" actId="1076"/>
          <ac:spMkLst>
            <pc:docMk/>
            <pc:sldMk cId="2008665049" sldId="262"/>
            <ac:spMk id="8" creationId="{EA6D7D9B-AE4A-4074-94EE-7090DD992AA0}"/>
          </ac:spMkLst>
        </pc:spChg>
        <pc:spChg chg="add mod">
          <ac:chgData name="Jennifer Neumaier" userId="8a9c6d71be663e1f" providerId="LiveId" clId="{267595A3-DF19-4933-9F05-B7C6B0E16F85}" dt="2022-01-28T08:41:58.279" v="3131" actId="1076"/>
          <ac:spMkLst>
            <pc:docMk/>
            <pc:sldMk cId="2008665049" sldId="262"/>
            <ac:spMk id="9" creationId="{760AB62D-369E-447E-8BBC-381C844A75F6}"/>
          </ac:spMkLst>
        </pc:spChg>
        <pc:spChg chg="add mod">
          <ac:chgData name="Jennifer Neumaier" userId="8a9c6d71be663e1f" providerId="LiveId" clId="{267595A3-DF19-4933-9F05-B7C6B0E16F85}" dt="2022-01-28T08:42:07.716" v="3132" actId="1076"/>
          <ac:spMkLst>
            <pc:docMk/>
            <pc:sldMk cId="2008665049" sldId="262"/>
            <ac:spMk id="29" creationId="{C5DD6C92-64E2-4F05-A90B-C9537D15AE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0" creationId="{F6C5FE06-2169-471C-AC44-A508C02DE0D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1" creationId="{61E65283-034B-457F-AF63-C91335EB2FFA}"/>
          </ac:spMkLst>
        </pc:spChg>
        <pc:spChg chg="add mod">
          <ac:chgData name="Jennifer Neumaier" userId="8a9c6d71be663e1f" providerId="LiveId" clId="{267595A3-DF19-4933-9F05-B7C6B0E16F85}" dt="2022-01-28T08:44:48.941" v="3184" actId="14100"/>
          <ac:spMkLst>
            <pc:docMk/>
            <pc:sldMk cId="2008665049" sldId="262"/>
            <ac:spMk id="32" creationId="{4B601316-885A-45B7-A8FC-5FA8CFC3FD6D}"/>
          </ac:spMkLst>
        </pc:spChg>
        <pc:spChg chg="add mod">
          <ac:chgData name="Jennifer Neumaier" userId="8a9c6d71be663e1f" providerId="LiveId" clId="{267595A3-DF19-4933-9F05-B7C6B0E16F85}" dt="2022-01-28T08:44:38.978" v="3156" actId="1076"/>
          <ac:spMkLst>
            <pc:docMk/>
            <pc:sldMk cId="2008665049" sldId="262"/>
            <ac:spMk id="34" creationId="{EB10332C-E89B-4A81-9F4D-9A40DC92C7DE}"/>
          </ac:spMkLst>
        </pc:spChg>
        <pc:spChg chg="add mod">
          <ac:chgData name="Jennifer Neumaier" userId="8a9c6d71be663e1f" providerId="LiveId" clId="{267595A3-DF19-4933-9F05-B7C6B0E16F85}" dt="2022-01-24T14:01:11.243" v="3037" actId="571"/>
          <ac:spMkLst>
            <pc:docMk/>
            <pc:sldMk cId="2008665049" sldId="262"/>
            <ac:spMk id="35" creationId="{7A849D3C-F8D9-4556-9857-398EC9A7787F}"/>
          </ac:spMkLst>
        </pc:s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2" creationId="{5FFF5F17-16DE-4C50-B11C-6A0ADA235413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7" creationId="{DF67BD7F-8C30-454D-8E1A-C866741B006E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8" creationId="{4E591C53-0709-4E1D-A448-4FEEA8AA4B26}"/>
          </ac:grpSpMkLst>
        </pc:grpChg>
        <pc:grpChg chg="mod">
          <ac:chgData name="Jennifer Neumaier" userId="8a9c6d71be663e1f" providerId="LiveId" clId="{267595A3-DF19-4933-9F05-B7C6B0E16F85}" dt="2022-01-28T08:45:58.577" v="3188" actId="1076"/>
          <ac:grpSpMkLst>
            <pc:docMk/>
            <pc:sldMk cId="2008665049" sldId="262"/>
            <ac:grpSpMk id="22" creationId="{BB432C93-51C0-4DC3-8F7D-3394D2C584E8}"/>
          </ac:grpSpMkLst>
        </pc:grpChg>
        <pc:grpChg chg="del mod">
          <ac:chgData name="Jennifer Neumaier" userId="8a9c6d71be663e1f" providerId="LiveId" clId="{267595A3-DF19-4933-9F05-B7C6B0E16F85}" dt="2022-01-24T14:01:18.390" v="3038"/>
          <ac:grpSpMkLst>
            <pc:docMk/>
            <pc:sldMk cId="2008665049" sldId="262"/>
            <ac:grpSpMk id="27" creationId="{C9BEEFA5-8FEC-4D73-80B6-7512133D7F6F}"/>
          </ac:grpSpMkLst>
        </pc:grpChg>
        <pc:grpChg chg="mod">
          <ac:chgData name="Jennifer Neumaier" userId="8a9c6d71be663e1f" providerId="LiveId" clId="{267595A3-DF19-4933-9F05-B7C6B0E16F85}" dt="2022-01-28T08:46:03.770" v="3190" actId="1076"/>
          <ac:grpSpMkLst>
            <pc:docMk/>
            <pc:sldMk cId="2008665049" sldId="262"/>
            <ac:grpSpMk id="28" creationId="{052FD108-2D6C-48D9-97E0-B936241DEFBC}"/>
          </ac:grpSpMkLst>
        </pc:grpChg>
        <pc:grpChg chg="add mod">
          <ac:chgData name="Jennifer Neumaier" userId="8a9c6d71be663e1f" providerId="LiveId" clId="{267595A3-DF19-4933-9F05-B7C6B0E16F85}" dt="2022-01-28T08:44:58.446" v="3187" actId="688"/>
          <ac:grpSpMkLst>
            <pc:docMk/>
            <pc:sldMk cId="2008665049" sldId="262"/>
            <ac:grpSpMk id="33" creationId="{180B5FDF-5CD7-4987-B586-1CAF1830F189}"/>
          </ac:grpSpMkLst>
        </pc:grpChg>
        <pc:picChg chg="add del">
          <ac:chgData name="Jennifer Neumaier" userId="8a9c6d71be663e1f" providerId="LiveId" clId="{267595A3-DF19-4933-9F05-B7C6B0E16F85}" dt="2022-01-24T11:29:23.090" v="2948" actId="478"/>
          <ac:picMkLst>
            <pc:docMk/>
            <pc:sldMk cId="2008665049" sldId="262"/>
            <ac:picMk id="33" creationId="{B8193950-B1AA-4967-BDA0-8049254EB78D}"/>
          </ac:picMkLst>
        </pc:pic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0" creationId="{1695F63E-7C02-4DB4-84D7-AC00ABAE11CA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1" creationId="{F2CC610D-795A-42DC-9AF4-085CC7992560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3" creationId="{602E90A4-48E2-4274-B44D-A11BBEBAA801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4" creationId="{373DF7B9-C399-479D-9B6E-AB16B448E0C1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5" creationId="{AFE0C480-C3A3-462D-A448-4B0584C4DED7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6" creationId="{CA436FAE-B826-4654-B5A3-7939B4A50B30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9" creationId="{B9CDD9C6-09FF-493E-A77E-A527EDDE47B5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0" creationId="{DF1C3BB6-8F13-4A47-B39E-5B92512F7745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1" creationId="{13E4900B-F57C-43B8-AB6F-1BD12CA64749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3" creationId="{B7D6234F-9588-4D9C-B710-74DAEA0870E8}"/>
          </ac:inkMkLst>
        </pc:inkChg>
        <pc:inkChg chg="add del mod">
          <ac:chgData name="Jennifer Neumaier" userId="8a9c6d71be663e1f" providerId="LiveId" clId="{267595A3-DF19-4933-9F05-B7C6B0E16F85}" dt="2022-01-24T14:01:18.391" v="3039"/>
          <ac:inkMkLst>
            <pc:docMk/>
            <pc:sldMk cId="2008665049" sldId="262"/>
            <ac:inkMk id="24" creationId="{1F83B587-AE38-4B55-9D59-38E05FDCFC93}"/>
          </ac:inkMkLst>
        </pc:inkChg>
        <pc:inkChg chg="add del mod">
          <ac:chgData name="Jennifer Neumaier" userId="8a9c6d71be663e1f" providerId="LiveId" clId="{267595A3-DF19-4933-9F05-B7C6B0E16F85}" dt="2022-01-24T14:01:18.390" v="3038"/>
          <ac:inkMkLst>
            <pc:docMk/>
            <pc:sldMk cId="2008665049" sldId="262"/>
            <ac:inkMk id="25" creationId="{01816A26-9359-4D17-90AF-FA8EC82F890F}"/>
          </ac:inkMkLst>
        </pc:inkChg>
        <pc:inkChg chg="add del mod">
          <ac:chgData name="Jennifer Neumaier" userId="8a9c6d71be663e1f" providerId="LiveId" clId="{267595A3-DF19-4933-9F05-B7C6B0E16F85}" dt="2022-01-24T14:01:19.024" v="3040"/>
          <ac:inkMkLst>
            <pc:docMk/>
            <pc:sldMk cId="2008665049" sldId="262"/>
            <ac:inkMk id="26" creationId="{DBEC02BF-DED7-44A5-B1B1-4387D75E7A06}"/>
          </ac:inkMkLst>
        </pc:inkChg>
        <pc:inkChg chg="mod">
          <ac:chgData name="Jennifer Neumaier" userId="8a9c6d71be663e1f" providerId="LiveId" clId="{267595A3-DF19-4933-9F05-B7C6B0E16F85}" dt="2022-01-28T08:44:54.113" v="3185"/>
          <ac:inkMkLst>
            <pc:docMk/>
            <pc:sldMk cId="2008665049" sldId="262"/>
            <ac:inkMk id="35" creationId="{7C8FBF30-6C06-4C6A-9741-6A6ED00CAF6D}"/>
          </ac:inkMkLst>
        </pc:inkChg>
        <pc:inkChg chg="mod">
          <ac:chgData name="Jennifer Neumaier" userId="8a9c6d71be663e1f" providerId="LiveId" clId="{267595A3-DF19-4933-9F05-B7C6B0E16F85}" dt="2022-01-28T08:44:54.113" v="3185"/>
          <ac:inkMkLst>
            <pc:docMk/>
            <pc:sldMk cId="2008665049" sldId="262"/>
            <ac:inkMk id="36" creationId="{551A051F-CB03-4B6B-A68B-1D62A1275A41}"/>
          </ac:inkMkLst>
        </pc:inkChg>
      </pc:sldChg>
      <pc:sldChg chg="addSp delSp modSp add mod">
        <pc:chgData name="Jennifer Neumaier" userId="8a9c6d71be663e1f" providerId="LiveId" clId="{267595A3-DF19-4933-9F05-B7C6B0E16F85}" dt="2022-01-24T10:59:57.158" v="2674" actId="1076"/>
        <pc:sldMkLst>
          <pc:docMk/>
          <pc:sldMk cId="1431769734" sldId="263"/>
        </pc:sldMkLst>
        <pc:spChg chg="mod">
          <ac:chgData name="Jennifer Neumaier" userId="8a9c6d71be663e1f" providerId="LiveId" clId="{267595A3-DF19-4933-9F05-B7C6B0E16F85}" dt="2022-01-21T23:42:36.160" v="2636" actId="113"/>
          <ac:spMkLst>
            <pc:docMk/>
            <pc:sldMk cId="1431769734" sldId="263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3" creationId="{FCE7145C-47D9-4CE4-B47E-794DEF5137F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4" creationId="{7E5ACE4E-266D-4B52-BD0C-EA6887FE1D36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6" creationId="{ABE670CF-FED5-4CBE-A63F-5AEF0B83A99B}"/>
          </ac:spMkLst>
        </pc:spChg>
        <pc:spChg chg="del mod">
          <ac:chgData name="Jennifer Neumaier" userId="8a9c6d71be663e1f" providerId="LiveId" clId="{267595A3-DF19-4933-9F05-B7C6B0E16F85}" dt="2022-01-17T12:02:32.809" v="2011" actId="478"/>
          <ac:spMkLst>
            <pc:docMk/>
            <pc:sldMk cId="1431769734" sldId="263"/>
            <ac:spMk id="6" creationId="{B6CE0B61-E8BA-45E6-B83B-10673374D0F5}"/>
          </ac:spMkLst>
        </pc:spChg>
        <pc:spChg chg="del">
          <ac:chgData name="Jennifer Neumaier" userId="8a9c6d71be663e1f" providerId="LiveId" clId="{267595A3-DF19-4933-9F05-B7C6B0E16F85}" dt="2022-01-17T12:02:29.186" v="2009" actId="478"/>
          <ac:spMkLst>
            <pc:docMk/>
            <pc:sldMk cId="1431769734" sldId="263"/>
            <ac:spMk id="11" creationId="{F3365DFD-40BD-4CEF-A161-CB40681CC02B}"/>
          </ac:spMkLst>
        </pc:spChg>
        <pc:spChg chg="del">
          <ac:chgData name="Jennifer Neumaier" userId="8a9c6d71be663e1f" providerId="LiveId" clId="{267595A3-DF19-4933-9F05-B7C6B0E16F85}" dt="2022-01-17T12:02:29.186" v="2009" actId="478"/>
          <ac:spMkLst>
            <pc:docMk/>
            <pc:sldMk cId="1431769734" sldId="263"/>
            <ac:spMk id="14" creationId="{3EAD9CF1-4E6F-4D34-A8EC-634E40519E11}"/>
          </ac:spMkLst>
        </pc:spChg>
        <pc:picChg chg="del">
          <ac:chgData name="Jennifer Neumaier" userId="8a9c6d71be663e1f" providerId="LiveId" clId="{267595A3-DF19-4933-9F05-B7C6B0E16F85}" dt="2022-01-17T12:02:26.745" v="2008" actId="478"/>
          <ac:picMkLst>
            <pc:docMk/>
            <pc:sldMk cId="1431769734" sldId="263"/>
            <ac:picMk id="4" creationId="{91F18563-12CA-475D-B6B0-8E0C32A6DE16}"/>
          </ac:picMkLst>
        </pc:picChg>
        <pc:picChg chg="add mod">
          <ac:chgData name="Jennifer Neumaier" userId="8a9c6d71be663e1f" providerId="LiveId" clId="{267595A3-DF19-4933-9F05-B7C6B0E16F85}" dt="2022-01-24T10:59:53.843" v="2672" actId="1076"/>
          <ac:picMkLst>
            <pc:docMk/>
            <pc:sldMk cId="1431769734" sldId="263"/>
            <ac:picMk id="5" creationId="{7AB2FBBF-2A25-4F38-BF85-58B69A5FEFF2}"/>
          </ac:picMkLst>
        </pc:picChg>
        <pc:picChg chg="add mod">
          <ac:chgData name="Jennifer Neumaier" userId="8a9c6d71be663e1f" providerId="LiveId" clId="{267595A3-DF19-4933-9F05-B7C6B0E16F85}" dt="2022-01-24T10:59:55.852" v="2673" actId="1076"/>
          <ac:picMkLst>
            <pc:docMk/>
            <pc:sldMk cId="1431769734" sldId="263"/>
            <ac:picMk id="8" creationId="{E65323F0-0245-4C38-8FEE-F8509698178F}"/>
          </ac:picMkLst>
        </pc:picChg>
        <pc:picChg chg="add mod">
          <ac:chgData name="Jennifer Neumaier" userId="8a9c6d71be663e1f" providerId="LiveId" clId="{267595A3-DF19-4933-9F05-B7C6B0E16F85}" dt="2022-01-24T10:59:57.158" v="2674" actId="1076"/>
          <ac:picMkLst>
            <pc:docMk/>
            <pc:sldMk cId="1431769734" sldId="263"/>
            <ac:picMk id="9" creationId="{3803EC90-9011-4653-B133-43E37074C6D0}"/>
          </ac:picMkLst>
        </pc:picChg>
        <pc:picChg chg="del">
          <ac:chgData name="Jennifer Neumaier" userId="8a9c6d71be663e1f" providerId="LiveId" clId="{267595A3-DF19-4933-9F05-B7C6B0E16F85}" dt="2022-01-17T12:02:29.186" v="2009" actId="478"/>
          <ac:picMkLst>
            <pc:docMk/>
            <pc:sldMk cId="1431769734" sldId="263"/>
            <ac:picMk id="10" creationId="{543A1EDF-ABED-4BFF-BC66-F67E7C8DF118}"/>
          </ac:picMkLst>
        </pc:picChg>
        <pc:picChg chg="del">
          <ac:chgData name="Jennifer Neumaier" userId="8a9c6d71be663e1f" providerId="LiveId" clId="{267595A3-DF19-4933-9F05-B7C6B0E16F85}" dt="2022-01-17T12:02:29.186" v="2009" actId="478"/>
          <ac:picMkLst>
            <pc:docMk/>
            <pc:sldMk cId="1431769734" sldId="263"/>
            <ac:picMk id="13" creationId="{D9BD1502-4B6E-4DAA-BA78-2CE1C9E68735}"/>
          </ac:picMkLst>
        </pc:picChg>
      </pc:sldChg>
      <pc:sldChg chg="addSp delSp modSp add mod ord">
        <pc:chgData name="Jennifer Neumaier" userId="8a9c6d71be663e1f" providerId="LiveId" clId="{267595A3-DF19-4933-9F05-B7C6B0E16F85}" dt="2022-01-21T23:42:31.940" v="2635" actId="113"/>
        <pc:sldMkLst>
          <pc:docMk/>
          <pc:sldMk cId="1656821779" sldId="264"/>
        </pc:sldMkLst>
        <pc:spChg chg="mod">
          <ac:chgData name="Jennifer Neumaier" userId="8a9c6d71be663e1f" providerId="LiveId" clId="{267595A3-DF19-4933-9F05-B7C6B0E16F85}" dt="2022-01-21T23:42:31.940" v="2635" actId="113"/>
          <ac:spMkLst>
            <pc:docMk/>
            <pc:sldMk cId="1656821779" sldId="264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3" creationId="{AF8DB77E-976D-4641-BB08-3BD02ACD33E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5" creationId="{728E1B44-D1A7-41B5-88B5-570B1D0A73F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6" creationId="{46D45532-13B6-49CC-853B-67AF6D7E3229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1656821779" sldId="264"/>
            <ac:picMk id="4" creationId="{B8F15870-A7B0-408A-B154-37EE64A087C1}"/>
          </ac:picMkLst>
        </pc:picChg>
        <pc:picChg chg="del">
          <ac:chgData name="Jennifer Neumaier" userId="8a9c6d71be663e1f" providerId="LiveId" clId="{267595A3-DF19-4933-9F05-B7C6B0E16F85}" dt="2022-01-17T12:05:42.399" v="2027" actId="478"/>
          <ac:picMkLst>
            <pc:docMk/>
            <pc:sldMk cId="1656821779" sldId="264"/>
            <ac:picMk id="5" creationId="{7AB2FBBF-2A25-4F38-BF85-58B69A5FEFF2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1656821779" sldId="264"/>
            <ac:picMk id="7" creationId="{325CDD26-95B1-44C3-905C-C221434A3D70}"/>
          </ac:picMkLst>
        </pc:picChg>
        <pc:picChg chg="del">
          <ac:chgData name="Jennifer Neumaier" userId="8a9c6d71be663e1f" providerId="LiveId" clId="{267595A3-DF19-4933-9F05-B7C6B0E16F85}" dt="2022-01-17T12:05:43.568" v="2028" actId="478"/>
          <ac:picMkLst>
            <pc:docMk/>
            <pc:sldMk cId="1656821779" sldId="264"/>
            <ac:picMk id="8" creationId="{E65323F0-0245-4C38-8FEE-F8509698178F}"/>
          </ac:picMkLst>
        </pc:picChg>
      </pc:sldChg>
      <pc:sldChg chg="addSp delSp modSp new mod modClrScheme chgLayout">
        <pc:chgData name="Jennifer Neumaier" userId="8a9c6d71be663e1f" providerId="LiveId" clId="{267595A3-DF19-4933-9F05-B7C6B0E16F85}" dt="2022-01-21T23:38:24.118" v="2558" actId="1076"/>
        <pc:sldMkLst>
          <pc:docMk/>
          <pc:sldMk cId="1669176882" sldId="265"/>
        </pc:sldMkLst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2" creationId="{7090AF23-0892-4CB5-A7AF-B63BF56BCE15}"/>
          </ac:spMkLst>
        </pc:spChg>
        <pc:spChg chg="del">
          <ac:chgData name="Jennifer Neumaier" userId="8a9c6d71be663e1f" providerId="LiveId" clId="{267595A3-DF19-4933-9F05-B7C6B0E16F85}" dt="2022-01-20T16:10:52.613" v="2034" actId="700"/>
          <ac:spMkLst>
            <pc:docMk/>
            <pc:sldMk cId="1669176882" sldId="265"/>
            <ac:spMk id="2" creationId="{CD327FD3-11AE-4E79-B9AD-B19E7A948BB2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3" creationId="{3B8DD7A6-C737-4D3D-9E96-21574B75C656}"/>
          </ac:spMkLst>
        </pc:spChg>
        <pc:spChg chg="del">
          <ac:chgData name="Jennifer Neumaier" userId="8a9c6d71be663e1f" providerId="LiveId" clId="{267595A3-DF19-4933-9F05-B7C6B0E16F85}" dt="2022-01-20T16:10:52.613" v="2034" actId="700"/>
          <ac:spMkLst>
            <pc:docMk/>
            <pc:sldMk cId="1669176882" sldId="265"/>
            <ac:spMk id="3" creationId="{9DC741E4-A437-4F75-B183-57631924653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5" creationId="{2613C0DB-4ADB-4199-8B9D-962AE3B3AE2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6" creationId="{33F8343D-7531-4B2F-B887-8F46A66B998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7" creationId="{7C528605-024B-4140-93F1-887F6ABE304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8" creationId="{67EA51E2-8E79-4147-8AC3-49619387767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9" creationId="{0617C3C6-587A-4742-B96B-149B0545D3E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0" creationId="{85240598-F62E-45D4-8877-F508FF19D8B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1" creationId="{FB6395E4-BE2F-4063-A676-39C4010A2394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2" creationId="{A7B3FD49-E965-4B64-9572-DF15FE71B11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3" creationId="{276D6B20-3BC1-4332-B3C5-4F19C5F4BEA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4" creationId="{4225E34C-606F-4482-BF8E-8D83A78BED2F}"/>
          </ac:spMkLst>
        </pc:spChg>
        <pc:spChg chg="add del mod">
          <ac:chgData name="Jennifer Neumaier" userId="8a9c6d71be663e1f" providerId="LiveId" clId="{267595A3-DF19-4933-9F05-B7C6B0E16F85}" dt="2022-01-21T23:29:59.548" v="2069"/>
          <ac:spMkLst>
            <pc:docMk/>
            <pc:sldMk cId="1669176882" sldId="265"/>
            <ac:spMk id="15" creationId="{FAD0273D-725B-4F91-BD32-8FED319A0133}"/>
          </ac:spMkLst>
        </pc:spChg>
        <pc:spChg chg="add del mod">
          <ac:chgData name="Jennifer Neumaier" userId="8a9c6d71be663e1f" providerId="LiveId" clId="{267595A3-DF19-4933-9F05-B7C6B0E16F85}" dt="2022-01-21T23:29:59.549" v="2071"/>
          <ac:spMkLst>
            <pc:docMk/>
            <pc:sldMk cId="1669176882" sldId="265"/>
            <ac:spMk id="16" creationId="{2A497D98-A20C-4B3F-BD6B-A21EC8E4233B}"/>
          </ac:spMkLst>
        </pc:spChg>
        <pc:spChg chg="add del mod">
          <ac:chgData name="Jennifer Neumaier" userId="8a9c6d71be663e1f" providerId="LiveId" clId="{267595A3-DF19-4933-9F05-B7C6B0E16F85}" dt="2022-01-21T23:29:59.550" v="2073"/>
          <ac:spMkLst>
            <pc:docMk/>
            <pc:sldMk cId="1669176882" sldId="265"/>
            <ac:spMk id="17" creationId="{A53CF82B-B0C8-4C84-9362-20ED6A797939}"/>
          </ac:spMkLst>
        </pc:spChg>
        <pc:spChg chg="add del mod">
          <ac:chgData name="Jennifer Neumaier" userId="8a9c6d71be663e1f" providerId="LiveId" clId="{267595A3-DF19-4933-9F05-B7C6B0E16F85}" dt="2022-01-21T23:29:59.551" v="2075"/>
          <ac:spMkLst>
            <pc:docMk/>
            <pc:sldMk cId="1669176882" sldId="265"/>
            <ac:spMk id="18" creationId="{99CAB910-F965-45F2-9F8B-E5372E7A779C}"/>
          </ac:spMkLst>
        </pc:spChg>
        <pc:spChg chg="add del mod">
          <ac:chgData name="Jennifer Neumaier" userId="8a9c6d71be663e1f" providerId="LiveId" clId="{267595A3-DF19-4933-9F05-B7C6B0E16F85}" dt="2022-01-21T23:29:59.551" v="2077"/>
          <ac:spMkLst>
            <pc:docMk/>
            <pc:sldMk cId="1669176882" sldId="265"/>
            <ac:spMk id="19" creationId="{092D1383-4C56-4685-B4B3-D95EA3FB6E2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20" creationId="{C038A0EE-4073-42CB-98B9-342F8353AAF4}"/>
          </ac:spMkLst>
        </pc:spChg>
        <pc:grpChg chg="add mod">
          <ac:chgData name="Jennifer Neumaier" userId="8a9c6d71be663e1f" providerId="LiveId" clId="{267595A3-DF19-4933-9F05-B7C6B0E16F85}" dt="2022-01-21T23:38:24.118" v="2558" actId="1076"/>
          <ac:grpSpMkLst>
            <pc:docMk/>
            <pc:sldMk cId="1669176882" sldId="265"/>
            <ac:grpSpMk id="4" creationId="{B6C0AB4A-19F3-4716-BD0E-8B81335D061A}"/>
          </ac:grpSpMkLst>
        </pc:grpChg>
      </pc:sldChg>
      <pc:sldChg chg="addSp delSp modSp new mod modClrScheme chgLayout">
        <pc:chgData name="Jennifer Neumaier" userId="8a9c6d71be663e1f" providerId="LiveId" clId="{267595A3-DF19-4933-9F05-B7C6B0E16F85}" dt="2022-01-21T23:39:13.789" v="2571" actId="1076"/>
        <pc:sldMkLst>
          <pc:docMk/>
          <pc:sldMk cId="3426371980" sldId="266"/>
        </pc:sldMkLst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2" creationId="{F3EEEBEE-8BBD-4EBF-A2BB-CAD97D51A48B}"/>
          </ac:spMkLst>
        </pc:spChg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3" creationId="{4DAFA7F5-6A91-4D4D-9891-3876525867AB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3" creationId="{896F49CE-6379-4DCC-95DA-F49F7F6CC624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4" creationId="{A4C4E8E1-B9A0-4685-95DC-FF7DE36EA1ED}"/>
          </ac:spMkLst>
        </pc:spChg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4" creationId="{CE2776D2-EE20-45AE-A069-38A103E4F6B4}"/>
          </ac:spMkLst>
        </pc:spChg>
        <pc:spChg chg="add mod ord">
          <ac:chgData name="Jennifer Neumaier" userId="8a9c6d71be663e1f" providerId="LiveId" clId="{267595A3-DF19-4933-9F05-B7C6B0E16F85}" dt="2022-01-21T23:39:11.152" v="2570" actId="1076"/>
          <ac:spMkLst>
            <pc:docMk/>
            <pc:sldMk cId="3426371980" sldId="266"/>
            <ac:spMk id="5" creationId="{747926D7-E6E6-47B7-806D-995BB9606CA7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5" creationId="{796631B1-FF05-40D0-88AF-6AD67CAD5C86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6" creationId="{367D8B1C-4B92-4920-B79E-A2977F90304F}"/>
          </ac:spMkLst>
        </pc:spChg>
        <pc:spChg chg="add del mod">
          <ac:chgData name="Jennifer Neumaier" userId="8a9c6d71be663e1f" providerId="LiveId" clId="{267595A3-DF19-4933-9F05-B7C6B0E16F85}" dt="2022-01-21T23:39:08.291" v="2569" actId="478"/>
          <ac:spMkLst>
            <pc:docMk/>
            <pc:sldMk cId="3426371980" sldId="266"/>
            <ac:spMk id="8" creationId="{C89E10F1-A1F2-4189-B64F-0F4D705DEAFE}"/>
          </ac:spMkLst>
        </pc:spChg>
        <pc:spChg chg="add mod">
          <ac:chgData name="Jennifer Neumaier" userId="8a9c6d71be663e1f" providerId="LiveId" clId="{267595A3-DF19-4933-9F05-B7C6B0E16F85}" dt="2022-01-21T23:39:13.789" v="2571" actId="1076"/>
          <ac:spMkLst>
            <pc:docMk/>
            <pc:sldMk cId="3426371980" sldId="266"/>
            <ac:spMk id="9" creationId="{0CBE27C3-DDC2-4388-8274-E35D8C5F2D93}"/>
          </ac:spMkLst>
        </pc:spChg>
        <pc:graphicFrameChg chg="add del mod">
          <ac:chgData name="Jennifer Neumaier" userId="8a9c6d71be663e1f" providerId="LiveId" clId="{267595A3-DF19-4933-9F05-B7C6B0E16F85}" dt="2022-01-20T16:11:17.178" v="2038"/>
          <ac:graphicFrameMkLst>
            <pc:docMk/>
            <pc:sldMk cId="3426371980" sldId="266"/>
            <ac:graphicFrameMk id="2" creationId="{212971E9-C7AE-45B7-8CC0-3C521AB9EDB9}"/>
          </ac:graphicFrameMkLst>
        </pc:graphicFrame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26371980" sldId="266"/>
            <ac:picMk id="7" creationId="{50006A75-D505-4BFD-A570-9C2DE4C486E2}"/>
          </ac:picMkLst>
        </pc:picChg>
      </pc:sldChg>
      <pc:sldChg chg="addSp delSp modSp new mod modClrScheme chgLayout">
        <pc:chgData name="Jennifer Neumaier" userId="8a9c6d71be663e1f" providerId="LiveId" clId="{267595A3-DF19-4933-9F05-B7C6B0E16F85}" dt="2022-01-21T23:38:57.952" v="2566" actId="1076"/>
        <pc:sldMkLst>
          <pc:docMk/>
          <pc:sldMk cId="493265810" sldId="267"/>
        </pc:sldMkLst>
        <pc:spChg chg="add 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2" creationId="{833BB0B7-2E07-4399-8A2F-D0337BF1EE21}"/>
          </ac:spMkLst>
        </pc:spChg>
        <pc:spChg chg="add 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3" creationId="{4E5575C3-7A22-47B2-9B57-4795C96BE9E7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" creationId="{0446ACF9-2F3C-48A3-9E45-71ABBB39E714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7" creationId="{D0C8F1E7-E2FF-43FF-8797-79375FE992A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8" creationId="{B4AD61B0-EF72-4C6F-A0DA-5B5F61E9445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9" creationId="{554240BB-78E4-4D5A-A011-28BA81BC1D19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0" creationId="{81E6290F-A961-40CB-B2CF-6E997748151D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1" creationId="{CF567F88-E049-4479-A1C4-CC859B93C36E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2" creationId="{C2971265-5D73-4C9F-B0EF-82209254722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3" creationId="{A6D05560-1C8C-40D4-8928-FB79CEF48C50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4" creationId="{ECFE5A69-3882-40DD-B0E9-09578552D7F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5" creationId="{00F76322-0CB5-4E38-AF7E-F2E409B5070C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6" creationId="{5CA9411C-46CF-46EB-BD50-51252362B615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7" creationId="{2F992FC1-78B1-4BA0-A829-6FF6EF840A4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27" creationId="{DE405621-1301-41D2-B2B9-278E5E77F98C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29" creationId="{257DE229-1E3E-4EAA-ADAE-525CB2778CCA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31" creationId="{51952D5E-B217-4358-8427-96719A4B6CAA}"/>
          </ac:spMkLst>
        </pc:spChg>
        <pc:spChg chg="add del mod">
          <ac:chgData name="Jennifer Neumaier" userId="8a9c6d71be663e1f" providerId="LiveId" clId="{267595A3-DF19-4933-9F05-B7C6B0E16F85}" dt="2022-01-21T23:38:46.709" v="2562" actId="478"/>
          <ac:spMkLst>
            <pc:docMk/>
            <pc:sldMk cId="493265810" sldId="267"/>
            <ac:spMk id="35" creationId="{05201482-45EA-4BC2-B23D-CB81F853DE57}"/>
          </ac:spMkLst>
        </pc:spChg>
        <pc:spChg chg="add mod">
          <ac:chgData name="Jennifer Neumaier" userId="8a9c6d71be663e1f" providerId="LiveId" clId="{267595A3-DF19-4933-9F05-B7C6B0E16F85}" dt="2022-01-21T23:38:57.952" v="2566" actId="1076"/>
          <ac:spMkLst>
            <pc:docMk/>
            <pc:sldMk cId="493265810" sldId="267"/>
            <ac:spMk id="36" creationId="{70CD0C95-D5A9-4F6C-9FA1-1B79286AE232}"/>
          </ac:spMkLst>
        </pc:spChg>
        <pc:spChg chg="add del mod">
          <ac:chgData name="Jennifer Neumaier" userId="8a9c6d71be663e1f" providerId="LiveId" clId="{267595A3-DF19-4933-9F05-B7C6B0E16F85}" dt="2022-01-21T23:32:37.515" v="2235" actId="478"/>
          <ac:spMkLst>
            <pc:docMk/>
            <pc:sldMk cId="493265810" sldId="267"/>
            <ac:spMk id="39" creationId="{84519995-3256-4499-887C-B5736DB69468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44" creationId="{88BBF705-E079-407C-9B7F-2350F7A4CD1E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45" creationId="{F2EE2162-6E14-4449-879B-B7BF28594D7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57" creationId="{7339E823-85CB-4433-A26A-B375610B151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2" creationId="{2C0C1F2B-9D4A-49FD-98E9-1C285FE9B09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8" creationId="{7EEB4601-DA9F-4092-B374-93130CC0D973}"/>
          </ac:spMkLst>
        </pc:spChg>
        <pc:spChg chg="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73" creationId="{028DB16D-7F2E-4027-9DD3-4CBD261EEB14}"/>
          </ac:spMkLst>
        </pc:spChg>
        <pc:spChg chg="add mod ord">
          <ac:chgData name="Jennifer Neumaier" userId="8a9c6d71be663e1f" providerId="LiveId" clId="{267595A3-DF19-4933-9F05-B7C6B0E16F85}" dt="2022-01-21T23:38:55.460" v="2565" actId="1076"/>
          <ac:spMkLst>
            <pc:docMk/>
            <pc:sldMk cId="493265810" sldId="267"/>
            <ac:spMk id="74" creationId="{8F4A7934-5846-4F87-B95A-A7615F590A7C}"/>
          </ac:spMkLst>
        </pc:spChg>
        <pc:picChg chg="add del mod">
          <ac:chgData name="Jennifer Neumaier" userId="8a9c6d71be663e1f" providerId="LiveId" clId="{267595A3-DF19-4933-9F05-B7C6B0E16F85}" dt="2022-01-21T23:30:44.113" v="2110" actId="478"/>
          <ac:picMkLst>
            <pc:docMk/>
            <pc:sldMk cId="493265810" sldId="267"/>
            <ac:picMk id="33" creationId="{AD2E46C7-19B8-40F2-8D21-F0F4BAFAD693}"/>
          </ac:picMkLst>
        </pc:picChg>
        <pc:picChg chg="add del mod">
          <ac:chgData name="Jennifer Neumaier" userId="8a9c6d71be663e1f" providerId="LiveId" clId="{267595A3-DF19-4933-9F05-B7C6B0E16F85}" dt="2022-01-21T23:30:43.286" v="2109" actId="478"/>
          <ac:picMkLst>
            <pc:docMk/>
            <pc:sldMk cId="493265810" sldId="267"/>
            <ac:picMk id="34" creationId="{56723F88-670E-4276-9C9A-15222DF5D63E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493265810" sldId="267"/>
            <ac:picMk id="37" creationId="{3AE1481F-A912-4A48-8583-C052B011F09B}"/>
          </ac:picMkLst>
        </pc:picChg>
        <pc:picChg chg="add del mod">
          <ac:chgData name="Jennifer Neumaier" userId="8a9c6d71be663e1f" providerId="LiveId" clId="{267595A3-DF19-4933-9F05-B7C6B0E16F85}" dt="2022-01-21T23:30:41.367" v="2108" actId="478"/>
          <ac:picMkLst>
            <pc:docMk/>
            <pc:sldMk cId="493265810" sldId="267"/>
            <ac:picMk id="38" creationId="{81CA051C-10FC-48A5-9830-63789B688DB4}"/>
          </ac:picMkLst>
        </pc:picChg>
        <pc:picChg chg="add del mod">
          <ac:chgData name="Jennifer Neumaier" userId="8a9c6d71be663e1f" providerId="LiveId" clId="{267595A3-DF19-4933-9F05-B7C6B0E16F85}" dt="2022-01-21T23:31:53.691" v="2211" actId="478"/>
          <ac:picMkLst>
            <pc:docMk/>
            <pc:sldMk cId="493265810" sldId="267"/>
            <ac:picMk id="40" creationId="{867DC5EA-CC65-40BB-A7CA-263ACDB630D6}"/>
          </ac:picMkLst>
        </pc:picChg>
        <pc:picChg chg="add del mod">
          <ac:chgData name="Jennifer Neumaier" userId="8a9c6d71be663e1f" providerId="LiveId" clId="{267595A3-DF19-4933-9F05-B7C6B0E16F85}" dt="2022-01-21T23:31:52.971" v="2210" actId="478"/>
          <ac:picMkLst>
            <pc:docMk/>
            <pc:sldMk cId="493265810" sldId="267"/>
            <ac:picMk id="41" creationId="{0B781FFD-DED7-4AA0-B93D-2AF01B210E73}"/>
          </ac:picMkLst>
        </pc:picChg>
        <pc:picChg chg="add del mod">
          <ac:chgData name="Jennifer Neumaier" userId="8a9c6d71be663e1f" providerId="LiveId" clId="{267595A3-DF19-4933-9F05-B7C6B0E16F85}" dt="2022-01-21T23:33:19.771" v="2306" actId="478"/>
          <ac:picMkLst>
            <pc:docMk/>
            <pc:sldMk cId="493265810" sldId="267"/>
            <ac:picMk id="42" creationId="{8948EFA5-3A45-427C-BE9B-935909E7D389}"/>
          </ac:picMkLst>
        </pc:pic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4" creationId="{7A005AF7-D51C-4D88-8AB0-6A818AEB979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5" creationId="{B66C936F-2090-4FB3-8B94-E6F69CF11E60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18" creationId="{A8FCAA41-1E95-4497-81DD-B4961C892F2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19" creationId="{1BF480AD-023C-45DD-A596-26FDB89A04A6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0" creationId="{89597093-EDA8-4171-A033-3CFAA5F23005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1" creationId="{13A2D131-9A20-4616-8685-20DAD15B4A3B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2" creationId="{656FDA3F-9577-45C3-866B-420EC86DA48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3" creationId="{6A2626C0-B4A1-466F-A04D-F05ECBD4D21A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4" creationId="{BE2B6763-6D68-4F38-8804-B4BB3C23C6C0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5" creationId="{3009EE5A-E0DE-4518-9093-381B9B0669D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6" creationId="{49015121-387D-4B15-9725-77118633CDA9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8" creationId="{F96A2B56-DACD-4088-B041-0E1E28C8D16A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30" creationId="{875DE90B-555B-469F-A164-0A955FC5E3E7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32" creationId="{961F12BE-613C-46DB-BE59-BD63DF2E7871}"/>
          </ac:cxnSpMkLst>
        </pc:cxnChg>
        <pc:cxnChg chg="add del mod">
          <ac:chgData name="Jennifer Neumaier" userId="8a9c6d71be663e1f" providerId="LiveId" clId="{267595A3-DF19-4933-9F05-B7C6B0E16F85}" dt="2022-01-21T23:32:50.394" v="2254" actId="478"/>
          <ac:cxnSpMkLst>
            <pc:docMk/>
            <pc:sldMk cId="493265810" sldId="267"/>
            <ac:cxnSpMk id="43" creationId="{5AF79F08-B759-4841-8667-4D317354F36F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46" creationId="{329CC727-8048-477F-9E85-41EECBFF5892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50" creationId="{30FF5804-6F0F-4C66-8037-30E63A77D89C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63" creationId="{02F51ECE-F257-47F0-93B5-EF7C2C5E678C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69" creationId="{29A2A9E5-60B3-4D94-893C-C90F8595A380}"/>
          </ac:cxnSpMkLst>
        </pc:cxnChg>
      </pc:sldChg>
      <pc:sldChg chg="addSp delSp modSp add mod setBg delDesignElem">
        <pc:chgData name="Jennifer Neumaier" userId="8a9c6d71be663e1f" providerId="LiveId" clId="{267595A3-DF19-4933-9F05-B7C6B0E16F85}" dt="2022-01-21T23:42:51.146" v="2641" actId="1076"/>
        <pc:sldMkLst>
          <pc:docMk/>
          <pc:sldMk cId="1870852049" sldId="268"/>
        </pc:sldMkLst>
        <pc:spChg chg="del mod">
          <ac:chgData name="Jennifer Neumaier" userId="8a9c6d71be663e1f" providerId="LiveId" clId="{267595A3-DF19-4933-9F05-B7C6B0E16F85}" dt="2022-01-21T23:36:30.931" v="2509" actId="478"/>
          <ac:spMkLst>
            <pc:docMk/>
            <pc:sldMk cId="1870852049" sldId="268"/>
            <ac:spMk id="2" creationId="{4678A273-475D-4B33-A0A4-C057D39E401D}"/>
          </ac:spMkLst>
        </pc:spChg>
        <pc:spChg chg="del mod">
          <ac:chgData name="Jennifer Neumaier" userId="8a9c6d71be663e1f" providerId="LiveId" clId="{267595A3-DF19-4933-9F05-B7C6B0E16F85}" dt="2022-01-21T23:36:32.329" v="2510" actId="478"/>
          <ac:spMkLst>
            <pc:docMk/>
            <pc:sldMk cId="1870852049" sldId="268"/>
            <ac:spMk id="3" creationId="{E6C04012-B852-4059-B36B-6FB0B6E44B4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870852049" sldId="268"/>
            <ac:spMk id="4" creationId="{FBA103E6-1C0F-49CA-AC5E-C9ACBAF44FEA}"/>
          </ac:spMkLst>
        </pc:spChg>
        <pc:spChg chg="mod">
          <ac:chgData name="Jennifer Neumaier" userId="8a9c6d71be663e1f" providerId="LiveId" clId="{267595A3-DF19-4933-9F05-B7C6B0E16F85}" dt="2022-01-21T23:42:51.146" v="2641" actId="1076"/>
          <ac:spMkLst>
            <pc:docMk/>
            <pc:sldMk cId="1870852049" sldId="268"/>
            <ac:spMk id="5" creationId="{CA895326-8C62-4A87-A680-A746500235F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870852049" sldId="268"/>
            <ac:spMk id="6" creationId="{9912DB58-738B-4637-8F7F-69BE65B9060C}"/>
          </ac:spMkLst>
        </pc:spChg>
        <pc:spChg chg="add del mod">
          <ac:chgData name="Jennifer Neumaier" userId="8a9c6d71be663e1f" providerId="LiveId" clId="{267595A3-DF19-4933-9F05-B7C6B0E16F85}" dt="2022-01-21T23:36:49.183" v="2513"/>
          <ac:spMkLst>
            <pc:docMk/>
            <pc:sldMk cId="1870852049" sldId="268"/>
            <ac:spMk id="8" creationId="{53688F6E-DD75-4D15-8B0F-ABBC1BD0EB6B}"/>
          </ac:spMkLst>
        </pc:spChg>
        <pc:spChg chg="add mod">
          <ac:chgData name="Jennifer Neumaier" userId="8a9c6d71be663e1f" providerId="LiveId" clId="{267595A3-DF19-4933-9F05-B7C6B0E16F85}" dt="2022-01-21T23:40:25.903" v="2608" actId="1076"/>
          <ac:spMkLst>
            <pc:docMk/>
            <pc:sldMk cId="1870852049" sldId="268"/>
            <ac:spMk id="9" creationId="{B51BD5DE-2048-480E-95D0-CF0A8C48246C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12" creationId="{1CD81A2A-6ED4-4EF4-A14C-912D31E14800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14" creationId="{1661932C-CA15-4E17-B115-FAE7CBEE4789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4" creationId="{75F47824-961D-465D-84F9-EAE11BC6173B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5" creationId="{8590ADD5-9383-4D3D-9047-3DA2593CCB5D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6" creationId="{FEC9DA3E-C1D7-472D-B7C0-F71AE41FBA23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7" creationId="{DABE3E45-88CF-45D8-8D40-C773324D93F6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9" creationId="{B91ECDA9-56DC-4270-8F33-01C5637B8CEB}"/>
          </ac:spMkLst>
        </pc:spChg>
        <pc:spChg chg="mod">
          <ac:chgData name="Jennifer Neumaier" userId="8a9c6d71be663e1f" providerId="LiveId" clId="{267595A3-DF19-4933-9F05-B7C6B0E16F85}" dt="2022-01-21T23:40:15.137" v="2602" actId="1076"/>
          <ac:spMkLst>
            <pc:docMk/>
            <pc:sldMk cId="1870852049" sldId="268"/>
            <ac:spMk id="32" creationId="{A3B93664-412E-47BE-9D0B-5944E25B61FD}"/>
          </ac:spMkLst>
        </pc:spChg>
        <pc:spChg chg="mod">
          <ac:chgData name="Jennifer Neumaier" userId="8a9c6d71be663e1f" providerId="LiveId" clId="{267595A3-DF19-4933-9F05-B7C6B0E16F85}" dt="2022-01-21T23:40:30.238" v="2610" actId="14100"/>
          <ac:spMkLst>
            <pc:docMk/>
            <pc:sldMk cId="1870852049" sldId="268"/>
            <ac:spMk id="33" creationId="{E4D5FC6B-D426-470A-8ABC-B88774E75115}"/>
          </ac:spMkLst>
        </pc:spChg>
        <pc:spChg chg="del">
          <ac:chgData name="Jennifer Neumaier" userId="8a9c6d71be663e1f" providerId="LiveId" clId="{267595A3-DF19-4933-9F05-B7C6B0E16F85}" dt="2022-01-21T23:35:46.915" v="2480" actId="478"/>
          <ac:spMkLst>
            <pc:docMk/>
            <pc:sldMk cId="1870852049" sldId="268"/>
            <ac:spMk id="34" creationId="{C42F4557-373D-45D9-9380-88F24E35269E}"/>
          </ac:spMkLst>
        </pc:spChg>
        <pc:spChg chg="mod">
          <ac:chgData name="Jennifer Neumaier" userId="8a9c6d71be663e1f" providerId="LiveId" clId="{267595A3-DF19-4933-9F05-B7C6B0E16F85}" dt="2022-01-21T23:40:33.730" v="2612" actId="14100"/>
          <ac:spMkLst>
            <pc:docMk/>
            <pc:sldMk cId="1870852049" sldId="268"/>
            <ac:spMk id="35" creationId="{47287ECE-C4E5-4B11-BB50-8930F2931B5E}"/>
          </ac:spMkLst>
        </pc:spChg>
        <pc:picChg chg="mod">
          <ac:chgData name="Jennifer Neumaier" userId="8a9c6d71be663e1f" providerId="LiveId" clId="{267595A3-DF19-4933-9F05-B7C6B0E16F85}" dt="2022-01-21T23:40:35.681" v="2613" actId="1076"/>
          <ac:picMkLst>
            <pc:docMk/>
            <pc:sldMk cId="1870852049" sldId="268"/>
            <ac:picMk id="7" creationId="{6851D747-2228-4FF5-B24C-C5389E1FC273}"/>
          </ac:picMkLst>
        </pc:picChg>
        <pc:cxnChg chg="del">
          <ac:chgData name="Jennifer Neumaier" userId="8a9c6d71be663e1f" providerId="LiveId" clId="{267595A3-DF19-4933-9F05-B7C6B0E16F85}" dt="2022-01-20T16:12:37.691" v="2059"/>
          <ac:cxnSpMkLst>
            <pc:docMk/>
            <pc:sldMk cId="1870852049" sldId="268"/>
            <ac:cxnSpMk id="28" creationId="{49CD1692-827B-4C8D-B4A1-134FD04CF45C}"/>
          </ac:cxnSpMkLst>
        </pc:cxnChg>
      </pc:sldChg>
      <pc:sldChg chg="new del">
        <pc:chgData name="Jennifer Neumaier" userId="8a9c6d71be663e1f" providerId="LiveId" clId="{267595A3-DF19-4933-9F05-B7C6B0E16F85}" dt="2022-01-21T23:42:08.440" v="2627" actId="47"/>
        <pc:sldMkLst>
          <pc:docMk/>
          <pc:sldMk cId="2667300125" sldId="269"/>
        </pc:sldMkLst>
      </pc:sldChg>
      <pc:sldChg chg="modSp add mod ord">
        <pc:chgData name="Jennifer Neumaier" userId="8a9c6d71be663e1f" providerId="LiveId" clId="{267595A3-DF19-4933-9F05-B7C6B0E16F85}" dt="2022-01-31T17:05:23.580" v="4251" actId="20577"/>
        <pc:sldMkLst>
          <pc:docMk/>
          <pc:sldMk cId="4097922265" sldId="269"/>
        </pc:sldMkLst>
        <pc:spChg chg="mod">
          <ac:chgData name="Jennifer Neumaier" userId="8a9c6d71be663e1f" providerId="LiveId" clId="{267595A3-DF19-4933-9F05-B7C6B0E16F85}" dt="2022-01-24T11:19:52.107" v="2689" actId="20577"/>
          <ac:spMkLst>
            <pc:docMk/>
            <pc:sldMk cId="4097922265" sldId="269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31T17:05:23.580" v="4251" actId="20577"/>
          <ac:spMkLst>
            <pc:docMk/>
            <pc:sldMk cId="4097922265" sldId="269"/>
            <ac:spMk id="3" creationId="{D4D56813-9DF8-4D28-B156-1DE48E95DBC2}"/>
          </ac:spMkLst>
        </pc:spChg>
      </pc:sldChg>
      <pc:sldChg chg="modSp add mod">
        <pc:chgData name="Jennifer Neumaier" userId="8a9c6d71be663e1f" providerId="LiveId" clId="{267595A3-DF19-4933-9F05-B7C6B0E16F85}" dt="2022-01-28T08:54:32.331" v="3535" actId="20577"/>
        <pc:sldMkLst>
          <pc:docMk/>
          <pc:sldMk cId="3993456640" sldId="270"/>
        </pc:sldMkLst>
        <pc:spChg chg="mod">
          <ac:chgData name="Jennifer Neumaier" userId="8a9c6d71be663e1f" providerId="LiveId" clId="{267595A3-DF19-4933-9F05-B7C6B0E16F85}" dt="2022-01-28T08:03:27.728" v="3058" actId="20577"/>
          <ac:spMkLst>
            <pc:docMk/>
            <pc:sldMk cId="3993456640" sldId="270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28T08:54:32.331" v="3535" actId="20577"/>
          <ac:spMkLst>
            <pc:docMk/>
            <pc:sldMk cId="3993456640" sldId="270"/>
            <ac:spMk id="3" creationId="{D4D56813-9DF8-4D28-B156-1DE48E95DBC2}"/>
          </ac:spMkLst>
        </pc:spChg>
      </pc:sldChg>
      <pc:sldChg chg="addSp delSp modSp new mod">
        <pc:chgData name="Jennifer Neumaier" userId="8a9c6d71be663e1f" providerId="LiveId" clId="{267595A3-DF19-4933-9F05-B7C6B0E16F85}" dt="2022-01-31T10:37:44.696" v="3877" actId="1076"/>
        <pc:sldMkLst>
          <pc:docMk/>
          <pc:sldMk cId="3962706958" sldId="271"/>
        </pc:sldMkLst>
        <pc:spChg chg="mod">
          <ac:chgData name="Jennifer Neumaier" userId="8a9c6d71be663e1f" providerId="LiveId" clId="{267595A3-DF19-4933-9F05-B7C6B0E16F85}" dt="2022-01-31T10:32:12.534" v="3552" actId="113"/>
          <ac:spMkLst>
            <pc:docMk/>
            <pc:sldMk cId="3962706958" sldId="271"/>
            <ac:spMk id="2" creationId="{6806FBA4-537C-4226-9D3A-758C7B787D79}"/>
          </ac:spMkLst>
        </pc:spChg>
        <pc:spChg chg="del">
          <ac:chgData name="Jennifer Neumaier" userId="8a9c6d71be663e1f" providerId="LiveId" clId="{267595A3-DF19-4933-9F05-B7C6B0E16F85}" dt="2022-01-31T10:32:14.851" v="3553" actId="478"/>
          <ac:spMkLst>
            <pc:docMk/>
            <pc:sldMk cId="3962706958" sldId="271"/>
            <ac:spMk id="3" creationId="{873C5C84-886E-4F59-84FF-83B6D8E03CF3}"/>
          </ac:spMkLst>
        </pc:spChg>
        <pc:spChg chg="add mod">
          <ac:chgData name="Jennifer Neumaier" userId="8a9c6d71be663e1f" providerId="LiveId" clId="{267595A3-DF19-4933-9F05-B7C6B0E16F85}" dt="2022-01-31T10:34:23.128" v="3642" actId="1076"/>
          <ac:spMkLst>
            <pc:docMk/>
            <pc:sldMk cId="3962706958" sldId="271"/>
            <ac:spMk id="39" creationId="{DB149BE7-194A-49B7-B3CA-BA0EA2860697}"/>
          </ac:spMkLst>
        </pc:spChg>
        <pc:spChg chg="add mod">
          <ac:chgData name="Jennifer Neumaier" userId="8a9c6d71be663e1f" providerId="LiveId" clId="{267595A3-DF19-4933-9F05-B7C6B0E16F85}" dt="2022-01-31T10:37:40.423" v="3875" actId="20577"/>
          <ac:spMkLst>
            <pc:docMk/>
            <pc:sldMk cId="3962706958" sldId="271"/>
            <ac:spMk id="40" creationId="{FEAE92B5-7397-4DDC-9B6F-AB7E5217BAED}"/>
          </ac:spMkLst>
        </pc:spChg>
        <pc:spChg chg="add mod">
          <ac:chgData name="Jennifer Neumaier" userId="8a9c6d71be663e1f" providerId="LiveId" clId="{267595A3-DF19-4933-9F05-B7C6B0E16F85}" dt="2022-01-31T10:36:20.434" v="3848" actId="1076"/>
          <ac:spMkLst>
            <pc:docMk/>
            <pc:sldMk cId="3962706958" sldId="271"/>
            <ac:spMk id="41" creationId="{4D645B5F-2E8D-4D92-82CB-2B81D89BEC87}"/>
          </ac:spMkLst>
        </pc:spChg>
        <pc:spChg chg="add mod">
          <ac:chgData name="Jennifer Neumaier" userId="8a9c6d71be663e1f" providerId="LiveId" clId="{267595A3-DF19-4933-9F05-B7C6B0E16F85}" dt="2022-01-31T10:36:12.891" v="3845" actId="14100"/>
          <ac:spMkLst>
            <pc:docMk/>
            <pc:sldMk cId="3962706958" sldId="271"/>
            <ac:spMk id="42" creationId="{3211B113-CA99-4D66-A0C4-E92E0840412C}"/>
          </ac:spMkLst>
        </pc:spChg>
        <pc:spChg chg="add mod">
          <ac:chgData name="Jennifer Neumaier" userId="8a9c6d71be663e1f" providerId="LiveId" clId="{267595A3-DF19-4933-9F05-B7C6B0E16F85}" dt="2022-01-31T10:37:44.696" v="3877" actId="1076"/>
          <ac:spMkLst>
            <pc:docMk/>
            <pc:sldMk cId="3962706958" sldId="271"/>
            <ac:spMk id="43" creationId="{5B173FC7-A877-4F18-9778-FE265256C3C6}"/>
          </ac:spMkLst>
        </pc:spChg>
        <pc:grpChg chg="del mod">
          <ac:chgData name="Jennifer Neumaier" userId="8a9c6d71be663e1f" providerId="LiveId" clId="{267595A3-DF19-4933-9F05-B7C6B0E16F85}" dt="2022-01-31T10:32:35.927" v="3560"/>
          <ac:grpSpMkLst>
            <pc:docMk/>
            <pc:sldMk cId="3962706958" sldId="271"/>
            <ac:grpSpMk id="9" creationId="{6AFCB159-3D56-41B5-BA71-3A90B7B01333}"/>
          </ac:grpSpMkLst>
        </pc:grpChg>
        <pc:grpChg chg="del mod">
          <ac:chgData name="Jennifer Neumaier" userId="8a9c6d71be663e1f" providerId="LiveId" clId="{267595A3-DF19-4933-9F05-B7C6B0E16F85}" dt="2022-01-31T10:32:37.558" v="3562"/>
          <ac:grpSpMkLst>
            <pc:docMk/>
            <pc:sldMk cId="3962706958" sldId="271"/>
            <ac:grpSpMk id="13" creationId="{002145C9-2E2C-433C-A1DB-32A4C5302848}"/>
          </ac:grpSpMkLst>
        </pc:grpChg>
        <pc:grpChg chg="del mod">
          <ac:chgData name="Jennifer Neumaier" userId="8a9c6d71be663e1f" providerId="LiveId" clId="{267595A3-DF19-4933-9F05-B7C6B0E16F85}" dt="2022-01-31T10:32:40.456" v="3564"/>
          <ac:grpSpMkLst>
            <pc:docMk/>
            <pc:sldMk cId="3962706958" sldId="271"/>
            <ac:grpSpMk id="15" creationId="{9FA86619-BBC9-488B-A372-C51D5ED58373}"/>
          </ac:grpSpMkLst>
        </pc:grpChg>
        <pc:grpChg chg="del mod">
          <ac:chgData name="Jennifer Neumaier" userId="8a9c6d71be663e1f" providerId="LiveId" clId="{267595A3-DF19-4933-9F05-B7C6B0E16F85}" dt="2022-01-31T10:33:22.788" v="3603"/>
          <ac:grpSpMkLst>
            <pc:docMk/>
            <pc:sldMk cId="3962706958" sldId="271"/>
            <ac:grpSpMk id="17" creationId="{44071033-3A5E-48B7-914E-F215430DE408}"/>
          </ac:grpSpMkLst>
        </pc:grpChg>
        <pc:grpChg chg="del mod">
          <ac:chgData name="Jennifer Neumaier" userId="8a9c6d71be663e1f" providerId="LiveId" clId="{267595A3-DF19-4933-9F05-B7C6B0E16F85}" dt="2022-01-31T10:33:22.792" v="3608"/>
          <ac:grpSpMkLst>
            <pc:docMk/>
            <pc:sldMk cId="3962706958" sldId="271"/>
            <ac:grpSpMk id="34" creationId="{82682019-085A-468B-8451-F3EAED07B716}"/>
          </ac:grpSpMkLst>
        </pc:grpChg>
        <pc:grpChg chg="del mod">
          <ac:chgData name="Jennifer Neumaier" userId="8a9c6d71be663e1f" providerId="LiveId" clId="{267595A3-DF19-4933-9F05-B7C6B0E16F85}" dt="2022-01-31T10:33:22.788" v="3596"/>
          <ac:grpSpMkLst>
            <pc:docMk/>
            <pc:sldMk cId="3962706958" sldId="271"/>
            <ac:grpSpMk id="35" creationId="{EDF822D7-990D-4222-9870-A40CF566AE57}"/>
          </ac:grpSpMkLst>
        </pc:grpChg>
        <pc:grpChg chg="del mod">
          <ac:chgData name="Jennifer Neumaier" userId="8a9c6d71be663e1f" providerId="LiveId" clId="{267595A3-DF19-4933-9F05-B7C6B0E16F85}" dt="2022-01-31T10:33:22.787" v="3592"/>
          <ac:grpSpMkLst>
            <pc:docMk/>
            <pc:sldMk cId="3962706958" sldId="271"/>
            <ac:grpSpMk id="38" creationId="{756F6636-F87B-405B-A1EC-F51281A4B5EF}"/>
          </ac:grpSpMkLst>
        </pc:grpChg>
        <pc:inkChg chg="add del mod">
          <ac:chgData name="Jennifer Neumaier" userId="8a9c6d71be663e1f" providerId="LiveId" clId="{267595A3-DF19-4933-9F05-B7C6B0E16F85}" dt="2022-01-31T10:33:22.788" v="3602"/>
          <ac:inkMkLst>
            <pc:docMk/>
            <pc:sldMk cId="3962706958" sldId="271"/>
            <ac:inkMk id="7" creationId="{2D8DE958-7089-4C9E-9F77-DA6EF84DA821}"/>
          </ac:inkMkLst>
        </pc:inkChg>
        <pc:inkChg chg="add del mod">
          <ac:chgData name="Jennifer Neumaier" userId="8a9c6d71be663e1f" providerId="LiveId" clId="{267595A3-DF19-4933-9F05-B7C6B0E16F85}" dt="2022-01-31T10:33:22.788" v="3594"/>
          <ac:inkMkLst>
            <pc:docMk/>
            <pc:sldMk cId="3962706958" sldId="271"/>
            <ac:inkMk id="8" creationId="{DB218DAC-0EAF-406E-A509-58D9EE037F27}"/>
          </ac:inkMkLst>
        </pc:inkChg>
        <pc:inkChg chg="add del mod">
          <ac:chgData name="Jennifer Neumaier" userId="8a9c6d71be663e1f" providerId="LiveId" clId="{267595A3-DF19-4933-9F05-B7C6B0E16F85}" dt="2022-01-31T10:33:22.788" v="3603"/>
          <ac:inkMkLst>
            <pc:docMk/>
            <pc:sldMk cId="3962706958" sldId="271"/>
            <ac:inkMk id="10" creationId="{F9BDD13A-2BC3-4A57-90EF-259ACADAD80E}"/>
          </ac:inkMkLst>
        </pc:inkChg>
        <pc:inkChg chg="add del mod">
          <ac:chgData name="Jennifer Neumaier" userId="8a9c6d71be663e1f" providerId="LiveId" clId="{267595A3-DF19-4933-9F05-B7C6B0E16F85}" dt="2022-01-31T10:33:22.792" v="3607"/>
          <ac:inkMkLst>
            <pc:docMk/>
            <pc:sldMk cId="3962706958" sldId="271"/>
            <ac:inkMk id="11" creationId="{792D6CB7-8E8B-4325-BBBC-2A455B6C6CF2}"/>
          </ac:inkMkLst>
        </pc:inkChg>
        <pc:inkChg chg="add del mod">
          <ac:chgData name="Jennifer Neumaier" userId="8a9c6d71be663e1f" providerId="LiveId" clId="{267595A3-DF19-4933-9F05-B7C6B0E16F85}" dt="2022-01-31T10:33:22.783" v="3588"/>
          <ac:inkMkLst>
            <pc:docMk/>
            <pc:sldMk cId="3962706958" sldId="271"/>
            <ac:inkMk id="12" creationId="{8AE388EC-219E-431B-94F7-F8F632969715}"/>
          </ac:inkMkLst>
        </pc:inkChg>
        <pc:inkChg chg="add del mod">
          <ac:chgData name="Jennifer Neumaier" userId="8a9c6d71be663e1f" providerId="LiveId" clId="{267595A3-DF19-4933-9F05-B7C6B0E16F85}" dt="2022-01-31T10:33:22.785" v="3589"/>
          <ac:inkMkLst>
            <pc:docMk/>
            <pc:sldMk cId="3962706958" sldId="271"/>
            <ac:inkMk id="14" creationId="{8E282A6C-B559-430B-8479-A39D184DD5BF}"/>
          </ac:inkMkLst>
        </pc:inkChg>
        <pc:inkChg chg="add del mod">
          <ac:chgData name="Jennifer Neumaier" userId="8a9c6d71be663e1f" providerId="LiveId" clId="{267595A3-DF19-4933-9F05-B7C6B0E16F85}" dt="2022-01-31T10:33:22.782" v="3587"/>
          <ac:inkMkLst>
            <pc:docMk/>
            <pc:sldMk cId="3962706958" sldId="271"/>
            <ac:inkMk id="16" creationId="{9044D89A-AB3C-4750-9785-D9458A7CAB59}"/>
          </ac:inkMkLst>
        </pc:inkChg>
        <pc:inkChg chg="add del mod">
          <ac:chgData name="Jennifer Neumaier" userId="8a9c6d71be663e1f" providerId="LiveId" clId="{267595A3-DF19-4933-9F05-B7C6B0E16F85}" dt="2022-01-31T10:33:22.792" v="3604"/>
          <ac:inkMkLst>
            <pc:docMk/>
            <pc:sldMk cId="3962706958" sldId="271"/>
            <ac:inkMk id="18" creationId="{347FE356-7D7A-452C-AE8E-8F7764DA782F}"/>
          </ac:inkMkLst>
        </pc:inkChg>
        <pc:inkChg chg="add del mod">
          <ac:chgData name="Jennifer Neumaier" userId="8a9c6d71be663e1f" providerId="LiveId" clId="{267595A3-DF19-4933-9F05-B7C6B0E16F85}" dt="2022-01-31T10:33:22.788" v="3596"/>
          <ac:inkMkLst>
            <pc:docMk/>
            <pc:sldMk cId="3962706958" sldId="271"/>
            <ac:inkMk id="19" creationId="{0CFC4B86-CE5A-4959-A9AF-4AD01A3006A2}"/>
          </ac:inkMkLst>
        </pc:inkChg>
        <pc:inkChg chg="add del mod">
          <ac:chgData name="Jennifer Neumaier" userId="8a9c6d71be663e1f" providerId="LiveId" clId="{267595A3-DF19-4933-9F05-B7C6B0E16F85}" dt="2022-01-31T10:33:22.792" v="3609"/>
          <ac:inkMkLst>
            <pc:docMk/>
            <pc:sldMk cId="3962706958" sldId="271"/>
            <ac:inkMk id="20" creationId="{77874C26-51D5-40E8-9CDC-4CC229EE38FE}"/>
          </ac:inkMkLst>
        </pc:inkChg>
        <pc:inkChg chg="add del mod">
          <ac:chgData name="Jennifer Neumaier" userId="8a9c6d71be663e1f" providerId="LiveId" clId="{267595A3-DF19-4933-9F05-B7C6B0E16F85}" dt="2022-01-31T10:33:22.788" v="3601"/>
          <ac:inkMkLst>
            <pc:docMk/>
            <pc:sldMk cId="3962706958" sldId="271"/>
            <ac:inkMk id="21" creationId="{2BBFD864-FB0D-4A6B-8D14-80166C42DEFA}"/>
          </ac:inkMkLst>
        </pc:inkChg>
        <pc:inkChg chg="add del mod">
          <ac:chgData name="Jennifer Neumaier" userId="8a9c6d71be663e1f" providerId="LiveId" clId="{267595A3-DF19-4933-9F05-B7C6B0E16F85}" dt="2022-01-31T10:33:22.788" v="3597"/>
          <ac:inkMkLst>
            <pc:docMk/>
            <pc:sldMk cId="3962706958" sldId="271"/>
            <ac:inkMk id="22" creationId="{CD2317A0-34A8-49DD-9036-EDBADF03CDB0}"/>
          </ac:inkMkLst>
        </pc:inkChg>
        <pc:inkChg chg="add del mod">
          <ac:chgData name="Jennifer Neumaier" userId="8a9c6d71be663e1f" providerId="LiveId" clId="{267595A3-DF19-4933-9F05-B7C6B0E16F85}" dt="2022-01-31T10:33:22.788" v="3595"/>
          <ac:inkMkLst>
            <pc:docMk/>
            <pc:sldMk cId="3962706958" sldId="271"/>
            <ac:inkMk id="23" creationId="{2855CC41-124E-46C1-9307-9D31BB7B2CB7}"/>
          </ac:inkMkLst>
        </pc:inkChg>
        <pc:inkChg chg="add del mod">
          <ac:chgData name="Jennifer Neumaier" userId="8a9c6d71be663e1f" providerId="LiveId" clId="{267595A3-DF19-4933-9F05-B7C6B0E16F85}" dt="2022-01-31T10:33:22.788" v="3593"/>
          <ac:inkMkLst>
            <pc:docMk/>
            <pc:sldMk cId="3962706958" sldId="271"/>
            <ac:inkMk id="24" creationId="{36E28DC5-1061-4BDF-AD5B-7D1A80E23DFF}"/>
          </ac:inkMkLst>
        </pc:inkChg>
        <pc:inkChg chg="add del mod">
          <ac:chgData name="Jennifer Neumaier" userId="8a9c6d71be663e1f" providerId="LiveId" clId="{267595A3-DF19-4933-9F05-B7C6B0E16F85}" dt="2022-01-31T10:33:22.787" v="3591"/>
          <ac:inkMkLst>
            <pc:docMk/>
            <pc:sldMk cId="3962706958" sldId="271"/>
            <ac:inkMk id="25" creationId="{90AC55A6-489D-4EC3-B0CE-26F89EC68A4D}"/>
          </ac:inkMkLst>
        </pc:inkChg>
        <pc:inkChg chg="add del mod">
          <ac:chgData name="Jennifer Neumaier" userId="8a9c6d71be663e1f" providerId="LiveId" clId="{267595A3-DF19-4933-9F05-B7C6B0E16F85}" dt="2022-01-31T10:33:22.792" v="3606"/>
          <ac:inkMkLst>
            <pc:docMk/>
            <pc:sldMk cId="3962706958" sldId="271"/>
            <ac:inkMk id="26" creationId="{0429FB34-A46A-4584-BA2F-6BD93BB56AAD}"/>
          </ac:inkMkLst>
        </pc:inkChg>
        <pc:inkChg chg="add del mod">
          <ac:chgData name="Jennifer Neumaier" userId="8a9c6d71be663e1f" providerId="LiveId" clId="{267595A3-DF19-4933-9F05-B7C6B0E16F85}" dt="2022-01-31T10:33:22.788" v="3599"/>
          <ac:inkMkLst>
            <pc:docMk/>
            <pc:sldMk cId="3962706958" sldId="271"/>
            <ac:inkMk id="27" creationId="{97D2456B-8431-4F3D-A97A-671B56B6BB9C}"/>
          </ac:inkMkLst>
        </pc:inkChg>
        <pc:inkChg chg="add del mod">
          <ac:chgData name="Jennifer Neumaier" userId="8a9c6d71be663e1f" providerId="LiveId" clId="{267595A3-DF19-4933-9F05-B7C6B0E16F85}" dt="2022-01-31T10:33:22.792" v="3608"/>
          <ac:inkMkLst>
            <pc:docMk/>
            <pc:sldMk cId="3962706958" sldId="271"/>
            <ac:inkMk id="28" creationId="{6889E2AD-AEA1-4D6D-AABC-6DC119DF652E}"/>
          </ac:inkMkLst>
        </pc:inkChg>
        <pc:inkChg chg="add del mod">
          <ac:chgData name="Jennifer Neumaier" userId="8a9c6d71be663e1f" providerId="LiveId" clId="{267595A3-DF19-4933-9F05-B7C6B0E16F85}" dt="2022-01-31T10:33:22.782" v="3586"/>
          <ac:inkMkLst>
            <pc:docMk/>
            <pc:sldMk cId="3962706958" sldId="271"/>
            <ac:inkMk id="29" creationId="{B86FD4C3-366C-4827-B451-74725D0C29AE}"/>
          </ac:inkMkLst>
        </pc:inkChg>
        <pc:inkChg chg="add del mod">
          <ac:chgData name="Jennifer Neumaier" userId="8a9c6d71be663e1f" providerId="LiveId" clId="{267595A3-DF19-4933-9F05-B7C6B0E16F85}" dt="2022-01-31T10:33:22.792" v="3605"/>
          <ac:inkMkLst>
            <pc:docMk/>
            <pc:sldMk cId="3962706958" sldId="271"/>
            <ac:inkMk id="30" creationId="{DF4CE2D2-F41C-4B20-ADC6-A8225BA106B7}"/>
          </ac:inkMkLst>
        </pc:inkChg>
        <pc:inkChg chg="add del mod">
          <ac:chgData name="Jennifer Neumaier" userId="8a9c6d71be663e1f" providerId="LiveId" clId="{267595A3-DF19-4933-9F05-B7C6B0E16F85}" dt="2022-01-31T10:33:22.788" v="3600"/>
          <ac:inkMkLst>
            <pc:docMk/>
            <pc:sldMk cId="3962706958" sldId="271"/>
            <ac:inkMk id="31" creationId="{F3356619-9FE9-4383-A1E7-FB15C1CB3F31}"/>
          </ac:inkMkLst>
        </pc:inkChg>
        <pc:inkChg chg="add del mod">
          <ac:chgData name="Jennifer Neumaier" userId="8a9c6d71be663e1f" providerId="LiveId" clId="{267595A3-DF19-4933-9F05-B7C6B0E16F85}" dt="2022-01-31T10:33:22.780" v="3585"/>
          <ac:inkMkLst>
            <pc:docMk/>
            <pc:sldMk cId="3962706958" sldId="271"/>
            <ac:inkMk id="32" creationId="{DF3E583C-164D-4337-95DB-B0AA15565549}"/>
          </ac:inkMkLst>
        </pc:inkChg>
        <pc:inkChg chg="add del mod">
          <ac:chgData name="Jennifer Neumaier" userId="8a9c6d71be663e1f" providerId="LiveId" clId="{267595A3-DF19-4933-9F05-B7C6B0E16F85}" dt="2022-01-31T10:33:22.785" v="3590"/>
          <ac:inkMkLst>
            <pc:docMk/>
            <pc:sldMk cId="3962706958" sldId="271"/>
            <ac:inkMk id="33" creationId="{D0D05C47-6718-4966-9BF1-9983FD6BC513}"/>
          </ac:inkMkLst>
        </pc:inkChg>
        <pc:inkChg chg="add del mod">
          <ac:chgData name="Jennifer Neumaier" userId="8a9c6d71be663e1f" providerId="LiveId" clId="{267595A3-DF19-4933-9F05-B7C6B0E16F85}" dt="2022-01-31T10:33:22.788" v="3598"/>
          <ac:inkMkLst>
            <pc:docMk/>
            <pc:sldMk cId="3962706958" sldId="271"/>
            <ac:inkMk id="36" creationId="{F0F31E1D-2BF5-4906-ABF5-6BFA000A80AC}"/>
          </ac:inkMkLst>
        </pc:inkChg>
        <pc:inkChg chg="add del mod">
          <ac:chgData name="Jennifer Neumaier" userId="8a9c6d71be663e1f" providerId="LiveId" clId="{267595A3-DF19-4933-9F05-B7C6B0E16F85}" dt="2022-01-31T10:33:22.787" v="3592"/>
          <ac:inkMkLst>
            <pc:docMk/>
            <pc:sldMk cId="3962706958" sldId="271"/>
            <ac:inkMk id="37" creationId="{417029BB-8B66-470E-8996-0D743B407751}"/>
          </ac:inkMkLst>
        </pc:inkChg>
      </pc:sldChg>
      <pc:sldChg chg="addSp modSp new mod modClrScheme chgLayout">
        <pc:chgData name="Jennifer Neumaier" userId="8a9c6d71be663e1f" providerId="LiveId" clId="{267595A3-DF19-4933-9F05-B7C6B0E16F85}" dt="2022-01-31T12:57:17.023" v="3887" actId="113"/>
        <pc:sldMkLst>
          <pc:docMk/>
          <pc:sldMk cId="2392951674" sldId="272"/>
        </pc:sldMkLst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2" creationId="{021C34A8-38CB-4F99-BD0A-21BB12003EDD}"/>
          </ac:spMkLst>
        </pc:spChg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3" creationId="{1438E154-BA79-4A10-8450-061DB6E4741C}"/>
          </ac:spMkLst>
        </pc:spChg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4" creationId="{AA4FC915-1ED9-4611-8B0F-C8AB3E2F7277}"/>
          </ac:spMkLst>
        </pc:spChg>
        <pc:spChg chg="add mod">
          <ac:chgData name="Jennifer Neumaier" userId="8a9c6d71be663e1f" providerId="LiveId" clId="{267595A3-DF19-4933-9F05-B7C6B0E16F85}" dt="2022-01-31T12:57:03.121" v="3880" actId="1076"/>
          <ac:spMkLst>
            <pc:docMk/>
            <pc:sldMk cId="2392951674" sldId="272"/>
            <ac:spMk id="6" creationId="{B4E8E4E4-15DA-4EA6-9874-049B0533B8D8}"/>
          </ac:spMkLst>
        </pc:spChg>
        <pc:spChg chg="add mod ord">
          <ac:chgData name="Jennifer Neumaier" userId="8a9c6d71be663e1f" providerId="LiveId" clId="{267595A3-DF19-4933-9F05-B7C6B0E16F85}" dt="2022-01-31T12:57:17.023" v="3887" actId="113"/>
          <ac:spMkLst>
            <pc:docMk/>
            <pc:sldMk cId="2392951674" sldId="272"/>
            <ac:spMk id="7" creationId="{097F2DA0-82A3-49C5-A952-4C41FC7A8B0D}"/>
          </ac:spMkLst>
        </pc:spChg>
      </pc:sldChg>
      <pc:sldMasterChg chg="modSp modSldLayout">
        <pc:chgData name="Jennifer Neumaier" userId="8a9c6d71be663e1f" providerId="LiveId" clId="{267595A3-DF19-4933-9F05-B7C6B0E16F85}" dt="2022-01-21T23:37:27.349" v="2518"/>
        <pc:sldMasterMkLst>
          <pc:docMk/>
          <pc:sldMasterMk cId="584573565" sldId="2147483668"/>
        </pc:sldMasterMkLst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5" creationId="{00000000-0000-0000-0000-000000000000}"/>
          </ac:spMkLst>
        </pc:spChg>
        <pc:grpChg chg="mod">
          <ac:chgData name="Jennifer Neumaier" userId="8a9c6d71be663e1f" providerId="LiveId" clId="{267595A3-DF19-4933-9F05-B7C6B0E16F85}" dt="2022-01-21T23:37:27.349" v="2518"/>
          <ac:grpSpMkLst>
            <pc:docMk/>
            <pc:sldMasterMk cId="584573565" sldId="2147483668"/>
            <ac:grpSpMk id="10" creationId="{00000000-0000-0000-0000-000000000000}"/>
          </ac:grpSpMkLst>
        </pc:grpChg>
        <pc:grpChg chg="mod">
          <ac:chgData name="Jennifer Neumaier" userId="8a9c6d71be663e1f" providerId="LiveId" clId="{267595A3-DF19-4933-9F05-B7C6B0E16F85}" dt="2022-01-21T23:37:27.349" v="2518"/>
          <ac:grpSpMkLst>
            <pc:docMk/>
            <pc:sldMasterMk cId="584573565" sldId="2147483668"/>
            <ac:grpSpMk id="23" creationId="{00000000-0000-0000-0000-000000000000}"/>
          </ac:grpSpMkLst>
        </pc:grp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094444069" sldId="2147483669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7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77405863" sldId="2147483670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118998584" sldId="2147483671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949887823" sldId="2147483672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1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506261990" sldId="2147483673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13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650587953" sldId="2147483674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650587953" sldId="2147483674"/>
              <ac:spMk id="7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007434323" sldId="2147483675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07434323" sldId="2147483675"/>
              <ac:spMk id="6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890331331" sldId="2147483676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4253862175" sldId="2147483677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581620606" sldId="2147483678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859803236" sldId="2147483679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5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521833646" sldId="2147483680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982484415" sldId="2147483681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8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795909995" sldId="2147483682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9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4289928265" sldId="2147483683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89928265" sldId="2147483683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308508173" sldId="2147483684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8" creationId="{00000000-0000-0000-0000-000000000000}"/>
            </ac:spMkLst>
          </pc:spChg>
        </pc:sldLayoutChg>
      </pc:sldMasterChg>
      <pc:sldMasterChg chg="modSp modSldLayout">
        <pc:chgData name="Jennifer Neumaier" userId="8a9c6d71be663e1f" providerId="LiveId" clId="{267595A3-DF19-4933-9F05-B7C6B0E16F85}" dt="2022-01-21T23:37:29.961" v="2519"/>
        <pc:sldMasterMkLst>
          <pc:docMk/>
          <pc:sldMasterMk cId="552786367" sldId="2147483685"/>
        </pc:sldMasterMkLst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2" creationId="{00000000-0000-0000-0000-000000000000}"/>
          </ac:spMkLst>
        </pc:s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asterMk cId="552786367" sldId="2147483685"/>
            <ac:grpSpMk id="36" creationId="{00000000-0000-0000-0000-000000000000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asterMk cId="552786367" sldId="2147483685"/>
            <ac:grpSpMk id="49" creationId="{00000000-0000-0000-0000-000000000000}"/>
          </ac:grpSpMkLst>
        </pc:grp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925128189" sldId="2147483686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821398645" sldId="2147483687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801762089" sldId="2147483688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009918269" sldId="2147483689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9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447094171" sldId="2147483690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12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848493600" sldId="2147483691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848493600" sldId="214748369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848493600" sldId="2147483691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630080249" sldId="2147483692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630080249" sldId="2147483692"/>
              <ac:spMk id="6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4099474794" sldId="2147483693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962710722" sldId="2147483694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533155520" sldId="2147483695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125104932" sldId="2147483696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258971713" sldId="2147483697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585158265" sldId="2147483698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2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535515072" sldId="2147483699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1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234238434" sldId="2147483700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234238434" sldId="2147483700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802103786" sldId="2147483701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10" creationId="{00000000-0000-0000-0000-000000000000}"/>
            </ac:spMkLst>
          </pc:spChg>
        </pc:sldLayoutChg>
      </pc:sldMasterChg>
      <pc:sldMasterChg chg="modSldLayout">
        <pc:chgData name="Jennifer Neumaier" userId="8a9c6d71be663e1f" providerId="LiveId" clId="{267595A3-DF19-4933-9F05-B7C6B0E16F85}" dt="2022-01-21T23:41:52.215" v="2625" actId="403"/>
        <pc:sldMasterMkLst>
          <pc:docMk/>
          <pc:sldMasterMk cId="2745336494" sldId="2147483702"/>
        </pc:sldMasterMkLst>
        <pc:sldLayoutChg chg="modSp mod">
          <pc:chgData name="Jennifer Neumaier" userId="8a9c6d71be663e1f" providerId="LiveId" clId="{267595A3-DF19-4933-9F05-B7C6B0E16F85}" dt="2022-01-21T23:41:52.215" v="2625" actId="403"/>
          <pc:sldLayoutMkLst>
            <pc:docMk/>
            <pc:sldMasterMk cId="2745336494" sldId="2147483702"/>
            <pc:sldLayoutMk cId="1207397933" sldId="2147483704"/>
          </pc:sldLayoutMkLst>
          <pc:spChg chg="mod">
            <ac:chgData name="Jennifer Neumaier" userId="8a9c6d71be663e1f" providerId="LiveId" clId="{267595A3-DF19-4933-9F05-B7C6B0E16F85}" dt="2022-01-21T23:41:08.556" v="2614" actId="1076"/>
            <ac:spMkLst>
              <pc:docMk/>
              <pc:sldMasterMk cId="2745336494" sldId="2147483702"/>
              <pc:sldLayoutMk cId="1207397933" sldId="214748370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16.303" v="2616" actId="1076"/>
            <ac:spMkLst>
              <pc:docMk/>
              <pc:sldMasterMk cId="2745336494" sldId="2147483702"/>
              <pc:sldLayoutMk cId="1207397933" sldId="214748370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52.215" v="2625" actId="403"/>
            <ac:spMkLst>
              <pc:docMk/>
              <pc:sldMasterMk cId="2745336494" sldId="2147483702"/>
              <pc:sldLayoutMk cId="1207397933" sldId="2147483704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9.833" v="2623" actId="403"/>
            <ac:spMkLst>
              <pc:docMk/>
              <pc:sldMasterMk cId="2745336494" sldId="2147483702"/>
              <pc:sldLayoutMk cId="1207397933" sldId="2147483704"/>
              <ac:spMk id="5" creationId="{00000000-0000-0000-0000-000000000000}"/>
            </ac:spMkLst>
          </pc:spChg>
        </pc:sldLayoutChg>
        <pc:sldLayoutChg chg="modSp mod">
          <pc:chgData name="Jennifer Neumaier" userId="8a9c6d71be663e1f" providerId="LiveId" clId="{267595A3-DF19-4933-9F05-B7C6B0E16F85}" dt="2022-01-21T23:41:44.787" v="2621" actId="403"/>
          <pc:sldLayoutMkLst>
            <pc:docMk/>
            <pc:sldMasterMk cId="2745336494" sldId="2147483702"/>
            <pc:sldLayoutMk cId="524928495" sldId="2147483708"/>
          </pc:sldLayoutMkLst>
          <pc:spChg chg="mod">
            <ac:chgData name="Jennifer Neumaier" userId="8a9c6d71be663e1f" providerId="LiveId" clId="{267595A3-DF19-4933-9F05-B7C6B0E16F85}" dt="2022-01-21T23:41:25.639" v="2617" actId="1076"/>
            <ac:spMkLst>
              <pc:docMk/>
              <pc:sldMasterMk cId="2745336494" sldId="2147483702"/>
              <pc:sldLayoutMk cId="524928495" sldId="214748370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4.787" v="2621" actId="403"/>
            <ac:spMkLst>
              <pc:docMk/>
              <pc:sldMasterMk cId="2745336494" sldId="2147483702"/>
              <pc:sldLayoutMk cId="524928495" sldId="214748370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1.729" v="2619" actId="403"/>
            <ac:spMkLst>
              <pc:docMk/>
              <pc:sldMasterMk cId="2745336494" sldId="2147483702"/>
              <pc:sldLayoutMk cId="524928495" sldId="2147483708"/>
              <ac:spMk id="4" creationId="{00000000-0000-0000-0000-000000000000}"/>
            </ac:spMkLst>
          </pc:spChg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D1CBBF-A6AF-4277-92A5-2C591B6D315C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2C4B2BDF-610B-4B58-B2E3-88D0B354C17A}">
      <dgm:prSet phldrT="[Text]"/>
      <dgm:spPr/>
      <dgm:t>
        <a:bodyPr/>
        <a:lstStyle/>
        <a:p>
          <a:r>
            <a:rPr lang="de-DE" dirty="0"/>
            <a:t>Data-driven</a:t>
          </a:r>
        </a:p>
      </dgm:t>
    </dgm:pt>
    <dgm:pt modelId="{E02B2527-E0E2-4241-83CB-A90EE9562E62}" type="parTrans" cxnId="{C042F163-F20D-430C-86AF-AEC803DB599C}">
      <dgm:prSet/>
      <dgm:spPr/>
      <dgm:t>
        <a:bodyPr/>
        <a:lstStyle/>
        <a:p>
          <a:endParaRPr lang="de-DE"/>
        </a:p>
      </dgm:t>
    </dgm:pt>
    <dgm:pt modelId="{8FC8DC59-2BE8-4B34-B7C7-979C9F73E1AB}" type="sibTrans" cxnId="{C042F163-F20D-430C-86AF-AEC803DB599C}">
      <dgm:prSet/>
      <dgm:spPr/>
      <dgm:t>
        <a:bodyPr/>
        <a:lstStyle/>
        <a:p>
          <a:endParaRPr lang="de-DE"/>
        </a:p>
      </dgm:t>
    </dgm:pt>
    <dgm:pt modelId="{5DAABD74-603D-43B6-B240-E5B67FDF6806}">
      <dgm:prSet phldrT="[Text]"/>
      <dgm:spPr/>
      <dgm:t>
        <a:bodyPr/>
        <a:lstStyle/>
        <a:p>
          <a:r>
            <a:rPr lang="de-DE" dirty="0"/>
            <a:t>Good interpretability</a:t>
          </a:r>
        </a:p>
      </dgm:t>
    </dgm:pt>
    <dgm:pt modelId="{23CE7353-0FF7-4E6F-87CC-ED7FC0A6FBD8}" type="parTrans" cxnId="{93D5BB79-C09E-43C8-A928-CAEF00511CD9}">
      <dgm:prSet/>
      <dgm:spPr/>
      <dgm:t>
        <a:bodyPr/>
        <a:lstStyle/>
        <a:p>
          <a:endParaRPr lang="de-DE"/>
        </a:p>
      </dgm:t>
    </dgm:pt>
    <dgm:pt modelId="{8E8D7090-1C7F-4EE4-8AC2-3375988014A1}" type="sibTrans" cxnId="{93D5BB79-C09E-43C8-A928-CAEF00511CD9}">
      <dgm:prSet/>
      <dgm:spPr/>
      <dgm:t>
        <a:bodyPr/>
        <a:lstStyle/>
        <a:p>
          <a:endParaRPr lang="de-DE"/>
        </a:p>
      </dgm:t>
    </dgm:pt>
    <dgm:pt modelId="{DB80A840-888D-4607-BA53-C5D0F583F484}">
      <dgm:prSet phldrT="[Text]"/>
      <dgm:spPr/>
      <dgm:t>
        <a:bodyPr/>
        <a:lstStyle/>
        <a:p>
          <a:r>
            <a:rPr lang="de-DE" dirty="0"/>
            <a:t>Performance Machine Learning models</a:t>
          </a:r>
        </a:p>
      </dgm:t>
    </dgm:pt>
    <dgm:pt modelId="{7E89F738-2742-4CCB-AFF8-7E5D125F2E88}" type="parTrans" cxnId="{D518CE9E-2770-4DC4-98CC-48F807B345D3}">
      <dgm:prSet/>
      <dgm:spPr/>
      <dgm:t>
        <a:bodyPr/>
        <a:lstStyle/>
        <a:p>
          <a:endParaRPr lang="de-DE"/>
        </a:p>
      </dgm:t>
    </dgm:pt>
    <dgm:pt modelId="{BA6E0CD8-D3B8-4845-BE77-249BBABE521B}" type="sibTrans" cxnId="{D518CE9E-2770-4DC4-98CC-48F807B345D3}">
      <dgm:prSet/>
      <dgm:spPr/>
      <dgm:t>
        <a:bodyPr/>
        <a:lstStyle/>
        <a:p>
          <a:endParaRPr lang="de-DE"/>
        </a:p>
      </dgm:t>
    </dgm:pt>
    <dgm:pt modelId="{70C6EF8F-F9AF-4BCD-99A6-F946A2E88398}">
      <dgm:prSet phldrT="[Text]"/>
      <dgm:spPr/>
      <dgm:t>
        <a:bodyPr/>
        <a:lstStyle/>
        <a:p>
          <a:r>
            <a:rPr lang="de-DE" dirty="0"/>
            <a:t>Guideline</a:t>
          </a:r>
        </a:p>
      </dgm:t>
    </dgm:pt>
    <dgm:pt modelId="{19AF9808-E5DE-4338-986F-936FD612A478}" type="parTrans" cxnId="{5C9DF0B4-1E86-4A9A-AF59-4A51F2851390}">
      <dgm:prSet/>
      <dgm:spPr/>
      <dgm:t>
        <a:bodyPr/>
        <a:lstStyle/>
        <a:p>
          <a:endParaRPr lang="de-DE"/>
        </a:p>
      </dgm:t>
    </dgm:pt>
    <dgm:pt modelId="{E2DBFD3B-3B38-43E9-84B8-6CFBB11D2C84}" type="sibTrans" cxnId="{5C9DF0B4-1E86-4A9A-AF59-4A51F2851390}">
      <dgm:prSet/>
      <dgm:spPr/>
      <dgm:t>
        <a:bodyPr/>
        <a:lstStyle/>
        <a:p>
          <a:endParaRPr lang="de-DE"/>
        </a:p>
      </dgm:t>
    </dgm:pt>
    <dgm:pt modelId="{5E7BBFFF-268F-4971-ADE6-2704269D1B90}" type="pres">
      <dgm:prSet presAssocID="{9DD1CBBF-A6AF-4277-92A5-2C591B6D315C}" presName="matrix" presStyleCnt="0">
        <dgm:presLayoutVars>
          <dgm:chMax val="1"/>
          <dgm:dir/>
          <dgm:resizeHandles val="exact"/>
        </dgm:presLayoutVars>
      </dgm:prSet>
      <dgm:spPr/>
    </dgm:pt>
    <dgm:pt modelId="{C2840A72-24E3-4DDF-8192-BB772AAD7BD2}" type="pres">
      <dgm:prSet presAssocID="{9DD1CBBF-A6AF-4277-92A5-2C591B6D315C}" presName="diamond" presStyleLbl="bgShp" presStyleIdx="0" presStyleCnt="1"/>
      <dgm:spPr/>
    </dgm:pt>
    <dgm:pt modelId="{EF067E57-BAF1-4636-8D95-F01FFEA77F45}" type="pres">
      <dgm:prSet presAssocID="{9DD1CBBF-A6AF-4277-92A5-2C591B6D315C}" presName="quad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BDA6A4E8-1A6F-4AF2-8D6B-A8B12F30C8B3}" type="pres">
      <dgm:prSet presAssocID="{9DD1CBBF-A6AF-4277-92A5-2C591B6D315C}" presName="quad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F0C0209-691F-47D4-8FCF-3929A2C0198C}" type="pres">
      <dgm:prSet presAssocID="{9DD1CBBF-A6AF-4277-92A5-2C591B6D315C}" presName="quad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16F91FDD-BA2E-426E-8C9A-0251D5B568FF}" type="pres">
      <dgm:prSet presAssocID="{9DD1CBBF-A6AF-4277-92A5-2C591B6D315C}" presName="quad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C042F163-F20D-430C-86AF-AEC803DB599C}" srcId="{9DD1CBBF-A6AF-4277-92A5-2C591B6D315C}" destId="{2C4B2BDF-610B-4B58-B2E3-88D0B354C17A}" srcOrd="0" destOrd="0" parTransId="{E02B2527-E0E2-4241-83CB-A90EE9562E62}" sibTransId="{8FC8DC59-2BE8-4B34-B7C7-979C9F73E1AB}"/>
    <dgm:cxn modelId="{DCD76268-6A2E-4E10-962E-8D76CF308FDE}" type="presOf" srcId="{70C6EF8F-F9AF-4BCD-99A6-F946A2E88398}" destId="{16F91FDD-BA2E-426E-8C9A-0251D5B568FF}" srcOrd="0" destOrd="0" presId="urn:microsoft.com/office/officeart/2005/8/layout/matrix3"/>
    <dgm:cxn modelId="{9DE60073-C3F3-473B-8D0C-E71D9BE3CA30}" type="presOf" srcId="{2C4B2BDF-610B-4B58-B2E3-88D0B354C17A}" destId="{EF067E57-BAF1-4636-8D95-F01FFEA77F45}" srcOrd="0" destOrd="0" presId="urn:microsoft.com/office/officeart/2005/8/layout/matrix3"/>
    <dgm:cxn modelId="{EC56D875-6AE6-45AE-AA2D-BF66B5B4237F}" type="presOf" srcId="{DB80A840-888D-4607-BA53-C5D0F583F484}" destId="{4F0C0209-691F-47D4-8FCF-3929A2C0198C}" srcOrd="0" destOrd="0" presId="urn:microsoft.com/office/officeart/2005/8/layout/matrix3"/>
    <dgm:cxn modelId="{93D5BB79-C09E-43C8-A928-CAEF00511CD9}" srcId="{9DD1CBBF-A6AF-4277-92A5-2C591B6D315C}" destId="{5DAABD74-603D-43B6-B240-E5B67FDF6806}" srcOrd="1" destOrd="0" parTransId="{23CE7353-0FF7-4E6F-87CC-ED7FC0A6FBD8}" sibTransId="{8E8D7090-1C7F-4EE4-8AC2-3375988014A1}"/>
    <dgm:cxn modelId="{D518CE9E-2770-4DC4-98CC-48F807B345D3}" srcId="{9DD1CBBF-A6AF-4277-92A5-2C591B6D315C}" destId="{DB80A840-888D-4607-BA53-C5D0F583F484}" srcOrd="2" destOrd="0" parTransId="{7E89F738-2742-4CCB-AFF8-7E5D125F2E88}" sibTransId="{BA6E0CD8-D3B8-4845-BE77-249BBABE521B}"/>
    <dgm:cxn modelId="{AE9C80A8-AAD7-4289-B66F-6FF28A52372F}" type="presOf" srcId="{9DD1CBBF-A6AF-4277-92A5-2C591B6D315C}" destId="{5E7BBFFF-268F-4971-ADE6-2704269D1B90}" srcOrd="0" destOrd="0" presId="urn:microsoft.com/office/officeart/2005/8/layout/matrix3"/>
    <dgm:cxn modelId="{5C9DF0B4-1E86-4A9A-AF59-4A51F2851390}" srcId="{9DD1CBBF-A6AF-4277-92A5-2C591B6D315C}" destId="{70C6EF8F-F9AF-4BCD-99A6-F946A2E88398}" srcOrd="3" destOrd="0" parTransId="{19AF9808-E5DE-4338-986F-936FD612A478}" sibTransId="{E2DBFD3B-3B38-43E9-84B8-6CFBB11D2C84}"/>
    <dgm:cxn modelId="{C8EDCBF2-E663-49F9-904F-DD2FAF58DA08}" type="presOf" srcId="{5DAABD74-603D-43B6-B240-E5B67FDF6806}" destId="{BDA6A4E8-1A6F-4AF2-8D6B-A8B12F30C8B3}" srcOrd="0" destOrd="0" presId="urn:microsoft.com/office/officeart/2005/8/layout/matrix3"/>
    <dgm:cxn modelId="{939F4006-49A5-48C1-A231-E600CE5E0F6E}" type="presParOf" srcId="{5E7BBFFF-268F-4971-ADE6-2704269D1B90}" destId="{C2840A72-24E3-4DDF-8192-BB772AAD7BD2}" srcOrd="0" destOrd="0" presId="urn:microsoft.com/office/officeart/2005/8/layout/matrix3"/>
    <dgm:cxn modelId="{870852F9-5FD9-4F1D-96B6-05D5B4BBDF3E}" type="presParOf" srcId="{5E7BBFFF-268F-4971-ADE6-2704269D1B90}" destId="{EF067E57-BAF1-4636-8D95-F01FFEA77F45}" srcOrd="1" destOrd="0" presId="urn:microsoft.com/office/officeart/2005/8/layout/matrix3"/>
    <dgm:cxn modelId="{02BC314B-1DF0-45F8-8263-D50A4DA944FC}" type="presParOf" srcId="{5E7BBFFF-268F-4971-ADE6-2704269D1B90}" destId="{BDA6A4E8-1A6F-4AF2-8D6B-A8B12F30C8B3}" srcOrd="2" destOrd="0" presId="urn:microsoft.com/office/officeart/2005/8/layout/matrix3"/>
    <dgm:cxn modelId="{F482B307-5849-4AC7-B4A3-D22B951F33C2}" type="presParOf" srcId="{5E7BBFFF-268F-4971-ADE6-2704269D1B90}" destId="{4F0C0209-691F-47D4-8FCF-3929A2C0198C}" srcOrd="3" destOrd="0" presId="urn:microsoft.com/office/officeart/2005/8/layout/matrix3"/>
    <dgm:cxn modelId="{8B7D30CB-D836-4697-90EE-B9CA4171CE73}" type="presParOf" srcId="{5E7BBFFF-268F-4971-ADE6-2704269D1B90}" destId="{16F91FDD-BA2E-426E-8C9A-0251D5B568FF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840A72-24E3-4DDF-8192-BB772AAD7BD2}">
      <dsp:nvSpPr>
        <dsp:cNvPr id="0" name=""/>
        <dsp:cNvSpPr/>
      </dsp:nvSpPr>
      <dsp:spPr>
        <a:xfrm>
          <a:off x="1354666" y="0"/>
          <a:ext cx="5418667" cy="5418667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067E57-BAF1-4636-8D95-F01FFEA77F45}">
      <dsp:nvSpPr>
        <dsp:cNvPr id="0" name=""/>
        <dsp:cNvSpPr/>
      </dsp:nvSpPr>
      <dsp:spPr>
        <a:xfrm>
          <a:off x="1869439" y="51477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Data-driven</a:t>
          </a:r>
        </a:p>
      </dsp:txBody>
      <dsp:txXfrm>
        <a:off x="1972601" y="617935"/>
        <a:ext cx="1906956" cy="1906956"/>
      </dsp:txXfrm>
    </dsp:sp>
    <dsp:sp modelId="{BDA6A4E8-1A6F-4AF2-8D6B-A8B12F30C8B3}">
      <dsp:nvSpPr>
        <dsp:cNvPr id="0" name=""/>
        <dsp:cNvSpPr/>
      </dsp:nvSpPr>
      <dsp:spPr>
        <a:xfrm>
          <a:off x="4145280" y="51477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Good interpretability</a:t>
          </a:r>
        </a:p>
      </dsp:txBody>
      <dsp:txXfrm>
        <a:off x="4248442" y="617935"/>
        <a:ext cx="1906956" cy="1906956"/>
      </dsp:txXfrm>
    </dsp:sp>
    <dsp:sp modelId="{4F0C0209-691F-47D4-8FCF-3929A2C0198C}">
      <dsp:nvSpPr>
        <dsp:cNvPr id="0" name=""/>
        <dsp:cNvSpPr/>
      </dsp:nvSpPr>
      <dsp:spPr>
        <a:xfrm>
          <a:off x="1869439" y="279061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Performance Machine Learning models</a:t>
          </a:r>
        </a:p>
      </dsp:txBody>
      <dsp:txXfrm>
        <a:off x="1972601" y="2893775"/>
        <a:ext cx="1906956" cy="1906956"/>
      </dsp:txXfrm>
    </dsp:sp>
    <dsp:sp modelId="{16F91FDD-BA2E-426E-8C9A-0251D5B568FF}">
      <dsp:nvSpPr>
        <dsp:cNvPr id="0" name=""/>
        <dsp:cNvSpPr/>
      </dsp:nvSpPr>
      <dsp:spPr>
        <a:xfrm>
          <a:off x="4145280" y="279061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Guideline</a:t>
          </a:r>
        </a:p>
      </dsp:txBody>
      <dsp:txXfrm>
        <a:off x="4248442" y="2893775"/>
        <a:ext cx="1906956" cy="19069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3712C0-BD94-4EDD-81B8-404EF18DF498}" type="datetimeFigureOut">
              <a:rPr lang="en-US" smtClean="0"/>
              <a:t>4/2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E34CAD-DC0B-4EB4-812C-D77F8E7D39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8310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E34CAD-DC0B-4EB4-812C-D77F8E7D39D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6318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E34CAD-DC0B-4EB4-812C-D77F8E7D39D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6980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E34CAD-DC0B-4EB4-812C-D77F8E7D39D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1222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3A20DD-8926-4B91-8D72-D1DC7F5C31EF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0078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D2B10-BCB9-40E5-8141-F17001376370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0503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FA6D-4E8C-437E-BCA1-3CF73EB8B252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411658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4317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418464772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35570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427DC1-41D9-41ED-AAB7-DF919DFB0B7D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9442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30F64-B6F9-41E5-8499-9B56B7F93996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264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50"/>
            </a:lvl1pPr>
          </a:lstStyle>
          <a:p>
            <a:fld id="{36D18B76-5E8B-4456-8722-FC5B14B0F354}" type="datetime1">
              <a:rPr lang="en-US" smtClean="0"/>
              <a:pPr/>
              <a:t>4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50"/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3979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14A3D-A565-477F-8682-1AE6EFE36557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4237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5A6A21-0914-4A46-BCF1-163E9A00E688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089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D7FCB-B1A7-4982-8C8B-674E644B14B0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92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0156" y="714375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50"/>
            </a:lvl1pPr>
          </a:lstStyle>
          <a:p>
            <a:fld id="{4C731089-17FC-4C04-87B1-2157F67F0117}" type="datetime1">
              <a:rPr lang="en-US" smtClean="0"/>
              <a:pPr/>
              <a:t>4/22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50"/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49284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8D66F-D6E5-4434-B311-7DA25CA81F5A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0344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3374B-0B0C-42C0-A0DF-1550CE3AA116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7970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9A7BC-DDDD-4FB0-A8E7-5046A2EF84B8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0929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C7F92B-2A35-4C09-8346-C40AAA997302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336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2.sv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1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slideLayout" Target="../slideLayouts/slideLayout6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image" Target="../media/image4.sv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fQPCeV4MUe4" TargetMode="External"/><Relationship Id="rId2" Type="http://schemas.openxmlformats.org/officeDocument/2006/relationships/hyperlink" Target="https://www.youtube.com/watch?v=j1IbfQrT2Cs" TargetMode="Externa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instituteofgenomics.slack.com/archives/D02GVP0CRPA/p1649934035886859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BC874F-21CE-4E2C-A949-8C08F87EAC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89213" y="2266759"/>
            <a:ext cx="8915399" cy="2262781"/>
          </a:xfrm>
        </p:spPr>
        <p:txBody>
          <a:bodyPr>
            <a:normAutofit fontScale="90000"/>
          </a:bodyPr>
          <a:lstStyle/>
          <a:p>
            <a:r>
              <a:rPr lang="de-DE" dirty="0"/>
              <a:t>Benchmarking machine learning performances with compositional data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1BCE06-5FC2-4E63-8EA1-E333421906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Project Structure and Notes</a:t>
            </a:r>
          </a:p>
          <a:p>
            <a:r>
              <a:rPr lang="de-DE" dirty="0"/>
              <a:t>Jennifer Neumaier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EAB986-00F9-4BE8-BFFC-4F3BAAE5B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FF5E6-438B-4B86-AF1B-DB82D6C33C1C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651C56-16B6-4F5E-A041-74AD211047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D646EB-60D9-4765-998D-51D7F994A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0715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i="1" dirty="0"/>
              <a:t>CoDaCoRe</a:t>
            </a:r>
            <a:endParaRPr lang="en-US" b="1" i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380F45-35B2-4D81-96B0-1E4153265E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0156" y="1722983"/>
            <a:ext cx="6760556" cy="157457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A9B85E4-5F40-42A5-94B4-D3D1B2909239}"/>
              </a:ext>
            </a:extLst>
          </p:cNvPr>
          <p:cNvSpPr txBox="1"/>
          <p:nvPr/>
        </p:nvSpPr>
        <p:spPr>
          <a:xfrm>
            <a:off x="2679405" y="3429000"/>
            <a:ext cx="721067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irst thoughts:</a:t>
            </a:r>
          </a:p>
          <a:p>
            <a:pPr marL="285750" indent="-285750">
              <a:buFontTx/>
              <a:buChar char="-"/>
            </a:pPr>
            <a:r>
              <a:rPr lang="de-DE" dirty="0"/>
              <a:t>Example showed imputation by +1 </a:t>
            </a:r>
          </a:p>
          <a:p>
            <a:pPr marL="285750" indent="-285750">
              <a:buFontTx/>
              <a:buChar char="-"/>
            </a:pPr>
            <a:r>
              <a:rPr lang="de-DE" dirty="0"/>
              <a:t>Logratio type is ILR or SLR (balances or amalgamation) -&gt; comparison questionable?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48409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ipeline</a:t>
            </a:r>
            <a:endParaRPr lang="en-US" b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80E8F9-06EE-48B5-9BB6-B7A9D4799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2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1</a:t>
            </a:fld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6502DB-4D2A-40B0-85BD-D4843A0B91F1}"/>
              </a:ext>
            </a:extLst>
          </p:cNvPr>
          <p:cNvGrpSpPr/>
          <p:nvPr/>
        </p:nvGrpSpPr>
        <p:grpSpPr>
          <a:xfrm>
            <a:off x="2301446" y="163761"/>
            <a:ext cx="9606927" cy="6075116"/>
            <a:chOff x="2301446" y="163761"/>
            <a:chExt cx="9606927" cy="6075116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B149BE7-194A-49B7-B3CA-BA0EA2860697}"/>
                </a:ext>
              </a:extLst>
            </p:cNvPr>
            <p:cNvSpPr/>
            <p:nvPr/>
          </p:nvSpPr>
          <p:spPr>
            <a:xfrm>
              <a:off x="5122653" y="163761"/>
              <a:ext cx="2374232" cy="38661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Data sets</a:t>
              </a:r>
              <a:endParaRPr lang="en-US" dirty="0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EAE92B5-7397-4DDC-9B6F-AB7E5217BAED}"/>
                </a:ext>
              </a:extLst>
            </p:cNvPr>
            <p:cNvSpPr/>
            <p:nvPr/>
          </p:nvSpPr>
          <p:spPr>
            <a:xfrm>
              <a:off x="2301446" y="2984015"/>
              <a:ext cx="2374232" cy="62490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icrobiome-native methods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D645B5F-2E8D-4D92-82CB-2B81D89BEC87}"/>
                </a:ext>
              </a:extLst>
            </p:cNvPr>
            <p:cNvSpPr/>
            <p:nvPr/>
          </p:nvSpPr>
          <p:spPr>
            <a:xfrm>
              <a:off x="7834979" y="2982408"/>
              <a:ext cx="2374232" cy="580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Log-Ratio Transformations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211B113-CA99-4D66-A0C4-E92E0840412C}"/>
                </a:ext>
              </a:extLst>
            </p:cNvPr>
            <p:cNvSpPr/>
            <p:nvPr/>
          </p:nvSpPr>
          <p:spPr>
            <a:xfrm>
              <a:off x="5122653" y="1458091"/>
              <a:ext cx="2374232" cy="42959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Pre-Processing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B173FC7-A877-4F18-9778-FE265256C3C6}"/>
                </a:ext>
              </a:extLst>
            </p:cNvPr>
            <p:cNvSpPr/>
            <p:nvPr/>
          </p:nvSpPr>
          <p:spPr>
            <a:xfrm>
              <a:off x="7834979" y="4666191"/>
              <a:ext cx="2374232" cy="65265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achine Learning model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2790E96-8342-4292-8A76-86B1DB9AECC5}"/>
                </a:ext>
              </a:extLst>
            </p:cNvPr>
            <p:cNvSpPr/>
            <p:nvPr/>
          </p:nvSpPr>
          <p:spPr>
            <a:xfrm>
              <a:off x="5122653" y="586787"/>
              <a:ext cx="2374232" cy="647009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Large/small</a:t>
              </a:r>
            </a:p>
            <a:p>
              <a:r>
                <a:rPr lang="de-DE" sz="1200" dirty="0"/>
                <a:t>High/low corr.</a:t>
              </a:r>
            </a:p>
            <a:p>
              <a:r>
                <a:rPr lang="de-DE" sz="1200" dirty="0"/>
                <a:t>Continuous/discrete</a:t>
              </a:r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FF209659-7E4B-4ABD-9FA7-C0F81BF78659}"/>
                </a:ext>
              </a:extLst>
            </p:cNvPr>
            <p:cNvCxnSpPr>
              <a:cxnSpLocks/>
              <a:stCxn id="11" idx="2"/>
              <a:endCxn id="42" idx="0"/>
            </p:cNvCxnSpPr>
            <p:nvPr/>
          </p:nvCxnSpPr>
          <p:spPr>
            <a:xfrm>
              <a:off x="6309769" y="1233796"/>
              <a:ext cx="0" cy="224295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37E05C1-9229-4818-B856-4E87FE9CA2DE}"/>
                </a:ext>
              </a:extLst>
            </p:cNvPr>
            <p:cNvSpPr/>
            <p:nvPr/>
          </p:nvSpPr>
          <p:spPr>
            <a:xfrm>
              <a:off x="5122653" y="1926801"/>
              <a:ext cx="2374232" cy="696006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Zero-Imputation (pseudocount/mbImpute)</a:t>
              </a:r>
            </a:p>
            <a:p>
              <a:r>
                <a:rPr lang="de-DE" sz="1200" dirty="0"/>
                <a:t>Filtering (10%/50%)</a:t>
              </a:r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9FD59F2-CF48-4C9A-8945-F8B60547BCFA}"/>
                </a:ext>
              </a:extLst>
            </p:cNvPr>
            <p:cNvCxnSpPr>
              <a:cxnSpLocks/>
              <a:stCxn id="17" idx="2"/>
              <a:endCxn id="41" idx="1"/>
            </p:cNvCxnSpPr>
            <p:nvPr/>
          </p:nvCxnSpPr>
          <p:spPr>
            <a:xfrm>
              <a:off x="6309769" y="2622807"/>
              <a:ext cx="1525210" cy="649637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34910D7-3966-4E72-A440-028656C38280}"/>
                </a:ext>
              </a:extLst>
            </p:cNvPr>
            <p:cNvSpPr/>
            <p:nvPr/>
          </p:nvSpPr>
          <p:spPr>
            <a:xfrm>
              <a:off x="7834979" y="3615981"/>
              <a:ext cx="2374232" cy="822187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TSS</a:t>
              </a:r>
            </a:p>
            <a:p>
              <a:r>
                <a:rPr lang="de-DE" sz="1200" dirty="0"/>
                <a:t>CLR</a:t>
              </a:r>
            </a:p>
            <a:p>
              <a:r>
                <a:rPr lang="de-DE" sz="1200" dirty="0"/>
                <a:t>ALR (random), ALR (optimal), ALR (top 10)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802B691-70F4-4B9A-A420-3A68C29658B9}"/>
                </a:ext>
              </a:extLst>
            </p:cNvPr>
            <p:cNvSpPr/>
            <p:nvPr/>
          </p:nvSpPr>
          <p:spPr>
            <a:xfrm>
              <a:off x="2301446" y="3648373"/>
              <a:ext cx="2374232" cy="526227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selbal</a:t>
              </a:r>
            </a:p>
            <a:p>
              <a:r>
                <a:rPr lang="de-DE" sz="1200" dirty="0"/>
                <a:t>CoDaCoRe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8B55F33-E766-45D8-BF5A-38AC23C4C7EB}"/>
                </a:ext>
              </a:extLst>
            </p:cNvPr>
            <p:cNvSpPr/>
            <p:nvPr/>
          </p:nvSpPr>
          <p:spPr>
            <a:xfrm>
              <a:off x="7834979" y="5359784"/>
              <a:ext cx="2374232" cy="879093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ElasticNet (ENET</a:t>
              </a:r>
            </a:p>
            <a:p>
              <a:r>
                <a:rPr lang="de-DE" sz="1200" dirty="0"/>
                <a:t>XGBoost (XGB)</a:t>
              </a:r>
            </a:p>
            <a:p>
              <a:r>
                <a:rPr lang="de-DE" sz="1200" strike="sngStrike" dirty="0"/>
                <a:t>Linear Discriminant Analysis (LDA)</a:t>
              </a:r>
            </a:p>
          </p:txBody>
        </p: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3317E03D-37DF-4FEA-8C85-21F9DF2A4B7E}"/>
                </a:ext>
              </a:extLst>
            </p:cNvPr>
            <p:cNvCxnSpPr>
              <a:cxnSpLocks/>
              <a:stCxn id="17" idx="2"/>
              <a:endCxn id="40" idx="3"/>
            </p:cNvCxnSpPr>
            <p:nvPr/>
          </p:nvCxnSpPr>
          <p:spPr>
            <a:xfrm flipH="1">
              <a:off x="4675678" y="2622807"/>
              <a:ext cx="1634091" cy="673661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25DAC118-6355-4467-8F43-BF1572687B1A}"/>
                </a:ext>
              </a:extLst>
            </p:cNvPr>
            <p:cNvCxnSpPr>
              <a:cxnSpLocks/>
              <a:stCxn id="24" idx="2"/>
              <a:endCxn id="43" idx="0"/>
            </p:cNvCxnSpPr>
            <p:nvPr/>
          </p:nvCxnSpPr>
          <p:spPr>
            <a:xfrm>
              <a:off x="9022095" y="4438168"/>
              <a:ext cx="0" cy="228023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D081E5B9-3D9B-43E2-85E9-B56C686B82CF}"/>
                </a:ext>
              </a:extLst>
            </p:cNvPr>
            <p:cNvCxnSpPr>
              <a:cxnSpLocks/>
              <a:stCxn id="23" idx="2"/>
              <a:endCxn id="43" idx="3"/>
            </p:cNvCxnSpPr>
            <p:nvPr/>
          </p:nvCxnSpPr>
          <p:spPr>
            <a:xfrm flipH="1">
              <a:off x="10209211" y="4438168"/>
              <a:ext cx="925782" cy="554350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9995F94-9814-4E54-90BE-5B19F776F779}"/>
                </a:ext>
              </a:extLst>
            </p:cNvPr>
            <p:cNvSpPr/>
            <p:nvPr/>
          </p:nvSpPr>
          <p:spPr>
            <a:xfrm>
              <a:off x="10361612" y="3692568"/>
              <a:ext cx="1546761" cy="745600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10-fold stratified </a:t>
              </a:r>
              <a:r>
                <a:rPr lang="de-DE" sz="1200" strike="sngStrike" dirty="0"/>
                <a:t>nested </a:t>
              </a:r>
              <a:r>
                <a:rPr lang="de-DE" sz="1200" dirty="0"/>
                <a:t>cross-validation</a:t>
              </a:r>
            </a:p>
          </p:txBody>
        </p:sp>
        <p:sp>
          <p:nvSpPr>
            <p:cNvPr id="12" name="Arrow: Up-Down 11">
              <a:extLst>
                <a:ext uri="{FF2B5EF4-FFF2-40B4-BE49-F238E27FC236}">
                  <a16:creationId xmlns:a16="http://schemas.microsoft.com/office/drawing/2014/main" id="{12449F90-50B1-466E-96B0-14ADD7634508}"/>
                </a:ext>
              </a:extLst>
            </p:cNvPr>
            <p:cNvSpPr/>
            <p:nvPr/>
          </p:nvSpPr>
          <p:spPr>
            <a:xfrm rot="17772640">
              <a:off x="5845973" y="3417631"/>
              <a:ext cx="818707" cy="2705274"/>
            </a:xfrm>
            <a:prstGeom prst="up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de-DE" dirty="0"/>
                <a:t>Performance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33BA7A27-1719-40BF-AFC4-A09400B9C3D4}"/>
              </a:ext>
            </a:extLst>
          </p:cNvPr>
          <p:cNvSpPr txBox="1"/>
          <p:nvPr/>
        </p:nvSpPr>
        <p:spPr>
          <a:xfrm rot="1413409">
            <a:off x="10436173" y="3164721"/>
            <a:ext cx="2099746" cy="6463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Use of mikropml advantageous -&gt; uses repeated CV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E46F372-AF43-41A8-BBB9-582A050D56E4}"/>
              </a:ext>
            </a:extLst>
          </p:cNvPr>
          <p:cNvSpPr txBox="1"/>
          <p:nvPr/>
        </p:nvSpPr>
        <p:spPr>
          <a:xfrm>
            <a:off x="10023103" y="5383831"/>
            <a:ext cx="2459519" cy="83099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Use of mikropml advantageous -&gt; only has glmnet and xgboost -&gt; for now sticking to those</a:t>
            </a:r>
          </a:p>
        </p:txBody>
      </p:sp>
    </p:spTree>
    <p:extLst>
      <p:ext uri="{BB962C8B-B14F-4D97-AF65-F5344CB8AC3E}">
        <p14:creationId xmlns:p14="http://schemas.microsoft.com/office/powerpoint/2010/main" val="39627069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ipeline</a:t>
            </a:r>
            <a:endParaRPr lang="en-US" b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80E8F9-06EE-48B5-9BB6-B7A9D4799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2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06A48CD-CF7B-4ABD-AA08-3035F75DCBC6}"/>
              </a:ext>
            </a:extLst>
          </p:cNvPr>
          <p:cNvGrpSpPr/>
          <p:nvPr/>
        </p:nvGrpSpPr>
        <p:grpSpPr>
          <a:xfrm>
            <a:off x="1175082" y="467833"/>
            <a:ext cx="10755662" cy="4942367"/>
            <a:chOff x="1175081" y="467833"/>
            <a:chExt cx="11783061" cy="5409393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20AD768-A59A-470B-9377-790E03FF084D}"/>
                </a:ext>
              </a:extLst>
            </p:cNvPr>
            <p:cNvSpPr/>
            <p:nvPr/>
          </p:nvSpPr>
          <p:spPr>
            <a:xfrm>
              <a:off x="4306186" y="467833"/>
              <a:ext cx="6836735" cy="535880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5611667-AD1D-471D-A4C9-274318F03281}"/>
                </a:ext>
              </a:extLst>
            </p:cNvPr>
            <p:cNvSpPr txBox="1"/>
            <p:nvPr/>
          </p:nvSpPr>
          <p:spPr>
            <a:xfrm>
              <a:off x="1175081" y="2782112"/>
              <a:ext cx="141413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/>
                <a:t>Dataset</a:t>
              </a:r>
            </a:p>
          </p:txBody>
        </p:sp>
        <p:sp>
          <p:nvSpPr>
            <p:cNvPr id="9" name="Arrow: Right 8">
              <a:extLst>
                <a:ext uri="{FF2B5EF4-FFF2-40B4-BE49-F238E27FC236}">
                  <a16:creationId xmlns:a16="http://schemas.microsoft.com/office/drawing/2014/main" id="{D261F977-FCCB-4A80-AC8F-4B6D7797EEB1}"/>
                </a:ext>
              </a:extLst>
            </p:cNvPr>
            <p:cNvSpPr/>
            <p:nvPr/>
          </p:nvSpPr>
          <p:spPr>
            <a:xfrm>
              <a:off x="2690038" y="2782112"/>
              <a:ext cx="1297172" cy="365125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7FFBF1C-6685-403E-B773-8642460D6EB2}"/>
                </a:ext>
              </a:extLst>
            </p:cNvPr>
            <p:cNvSpPr/>
            <p:nvPr/>
          </p:nvSpPr>
          <p:spPr>
            <a:xfrm>
              <a:off x="5007935" y="1853646"/>
              <a:ext cx="5872485" cy="3749712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3181884-8B04-4FF4-B76B-68A48EE191A4}"/>
                </a:ext>
              </a:extLst>
            </p:cNvPr>
            <p:cNvSpPr/>
            <p:nvPr/>
          </p:nvSpPr>
          <p:spPr>
            <a:xfrm>
              <a:off x="5911212" y="2817772"/>
              <a:ext cx="4729792" cy="2508963"/>
            </a:xfrm>
            <a:prstGeom prst="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094F691-7C4F-4392-B69F-E8A30F3A96C2}"/>
                </a:ext>
              </a:extLst>
            </p:cNvPr>
            <p:cNvSpPr txBox="1"/>
            <p:nvPr/>
          </p:nvSpPr>
          <p:spPr>
            <a:xfrm>
              <a:off x="4322136" y="526956"/>
              <a:ext cx="287610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/>
                <a:t>Transformation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2A2E94E-3446-49B2-A5CD-BECC77DA3C69}"/>
                </a:ext>
              </a:extLst>
            </p:cNvPr>
            <p:cNvSpPr txBox="1"/>
            <p:nvPr/>
          </p:nvSpPr>
          <p:spPr>
            <a:xfrm>
              <a:off x="4322136" y="954155"/>
              <a:ext cx="67171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TSS(), ALR_optimal(), ALR_worst(), ALR_random(), CLR()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B250C6A0-1926-4046-BC27-DFA2FE1A9C1C}"/>
                </a:ext>
              </a:extLst>
            </p:cNvPr>
            <p:cNvSpPr txBox="1"/>
            <p:nvPr/>
          </p:nvSpPr>
          <p:spPr>
            <a:xfrm>
              <a:off x="5031202" y="2212828"/>
              <a:ext cx="62977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Initial data split for consistency in all models 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4A0A2DE-16AF-4170-ACB4-FD4746EBB9F5}"/>
                </a:ext>
              </a:extLst>
            </p:cNvPr>
            <p:cNvSpPr txBox="1"/>
            <p:nvPr/>
          </p:nvSpPr>
          <p:spPr>
            <a:xfrm>
              <a:off x="5007935" y="1858865"/>
              <a:ext cx="287610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/>
                <a:t>Data split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0B02149-0C4C-44EE-88C0-C3ADB582BF80}"/>
                </a:ext>
              </a:extLst>
            </p:cNvPr>
            <p:cNvSpPr/>
            <p:nvPr/>
          </p:nvSpPr>
          <p:spPr>
            <a:xfrm>
              <a:off x="11438976" y="1435395"/>
              <a:ext cx="1506048" cy="1226288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489770FC-6936-4E84-9E60-791E4AEA651A}"/>
                </a:ext>
              </a:extLst>
            </p:cNvPr>
            <p:cNvSpPr txBox="1"/>
            <p:nvPr/>
          </p:nvSpPr>
          <p:spPr>
            <a:xfrm>
              <a:off x="11634614" y="1793808"/>
              <a:ext cx="131041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/>
                <a:t>Test set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277B8AC-608F-404F-910C-FF6C16EE64B0}"/>
                </a:ext>
              </a:extLst>
            </p:cNvPr>
            <p:cNvSpPr txBox="1"/>
            <p:nvPr/>
          </p:nvSpPr>
          <p:spPr>
            <a:xfrm>
              <a:off x="5975007" y="2848150"/>
              <a:ext cx="43274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/>
                <a:t>CV + models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3629AE7-8DD7-46F5-8B1A-937532D154CC}"/>
                </a:ext>
              </a:extLst>
            </p:cNvPr>
            <p:cNvSpPr txBox="1"/>
            <p:nvPr/>
          </p:nvSpPr>
          <p:spPr>
            <a:xfrm>
              <a:off x="6020686" y="3268321"/>
              <a:ext cx="4081857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K-folds = 5, CV = 10</a:t>
              </a:r>
            </a:p>
            <a:p>
              <a:endParaRPr lang="de-DE" dirty="0"/>
            </a:p>
            <a:p>
              <a:r>
                <a:rPr lang="de-DE" dirty="0"/>
                <a:t>(selbal)</a:t>
              </a:r>
            </a:p>
            <a:p>
              <a:r>
                <a:rPr lang="de-DE" dirty="0"/>
                <a:t>codacore</a:t>
              </a:r>
            </a:p>
            <a:p>
              <a:r>
                <a:rPr lang="de-DE" dirty="0"/>
                <a:t>glmnet</a:t>
              </a:r>
            </a:p>
            <a:p>
              <a:r>
                <a:rPr lang="de-DE" dirty="0"/>
                <a:t>xgboost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18DF47F0-180B-4ECD-9EC5-0FAD8F6AD0D9}"/>
                </a:ext>
              </a:extLst>
            </p:cNvPr>
            <p:cNvSpPr/>
            <p:nvPr/>
          </p:nvSpPr>
          <p:spPr>
            <a:xfrm>
              <a:off x="11438976" y="4282913"/>
              <a:ext cx="1519166" cy="1379759"/>
            </a:xfrm>
            <a:prstGeom prst="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446927C-78DF-451F-890D-477AC52B8676}"/>
                </a:ext>
              </a:extLst>
            </p:cNvPr>
            <p:cNvSpPr txBox="1"/>
            <p:nvPr/>
          </p:nvSpPr>
          <p:spPr>
            <a:xfrm>
              <a:off x="11496211" y="4548951"/>
              <a:ext cx="139157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Model accuracy</a:t>
              </a:r>
            </a:p>
          </p:txBody>
        </p:sp>
        <p:sp>
          <p:nvSpPr>
            <p:cNvPr id="49" name="Arrow: Right 48">
              <a:extLst>
                <a:ext uri="{FF2B5EF4-FFF2-40B4-BE49-F238E27FC236}">
                  <a16:creationId xmlns:a16="http://schemas.microsoft.com/office/drawing/2014/main" id="{8DF1C14D-4124-4C1E-8065-E84C82426493}"/>
                </a:ext>
              </a:extLst>
            </p:cNvPr>
            <p:cNvSpPr/>
            <p:nvPr/>
          </p:nvSpPr>
          <p:spPr>
            <a:xfrm rot="5400000">
              <a:off x="11543413" y="3283797"/>
              <a:ext cx="1297172" cy="365125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Arrow: Curved Down 13">
              <a:extLst>
                <a:ext uri="{FF2B5EF4-FFF2-40B4-BE49-F238E27FC236}">
                  <a16:creationId xmlns:a16="http://schemas.microsoft.com/office/drawing/2014/main" id="{E03AA2E6-2D0B-42B5-8D5D-71BCA72B5FFD}"/>
                </a:ext>
              </a:extLst>
            </p:cNvPr>
            <p:cNvSpPr/>
            <p:nvPr/>
          </p:nvSpPr>
          <p:spPr>
            <a:xfrm rot="19742778">
              <a:off x="10119539" y="872366"/>
              <a:ext cx="1839432" cy="813793"/>
            </a:xfrm>
            <a:prstGeom prst="curved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1" name="Arrow: Curved Down 50">
              <a:extLst>
                <a:ext uri="{FF2B5EF4-FFF2-40B4-BE49-F238E27FC236}">
                  <a16:creationId xmlns:a16="http://schemas.microsoft.com/office/drawing/2014/main" id="{69FBA25F-FDEA-4F5E-B8F3-D6052EF6FDF8}"/>
                </a:ext>
              </a:extLst>
            </p:cNvPr>
            <p:cNvSpPr/>
            <p:nvPr/>
          </p:nvSpPr>
          <p:spPr>
            <a:xfrm rot="19287333">
              <a:off x="9943675" y="3792887"/>
              <a:ext cx="1839432" cy="813793"/>
            </a:xfrm>
            <a:prstGeom prst="curvedDownArrow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ABD0FA6-70C3-4752-ABA9-C68A18300A59}"/>
                </a:ext>
              </a:extLst>
            </p:cNvPr>
            <p:cNvSpPr/>
            <p:nvPr/>
          </p:nvSpPr>
          <p:spPr>
            <a:xfrm>
              <a:off x="5063741" y="2069305"/>
              <a:ext cx="6172214" cy="3747019"/>
            </a:xfrm>
            <a:prstGeom prst="ellipse">
              <a:avLst/>
            </a:prstGeom>
            <a:noFill/>
            <a:ln w="3810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6B392D2-B354-448B-990C-3B9E3DA5C747}"/>
                </a:ext>
              </a:extLst>
            </p:cNvPr>
            <p:cNvSpPr txBox="1"/>
            <p:nvPr/>
          </p:nvSpPr>
          <p:spPr>
            <a:xfrm>
              <a:off x="2732564" y="4953896"/>
              <a:ext cx="2204249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>
                  <a:solidFill>
                    <a:srgbClr val="7030A0"/>
                  </a:solidFill>
                </a:rPr>
                <a:t>Repeat 10x to observe statistical fluctu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087517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4" name="Picture 3" descr="Chart, box and whisker chart&#10;&#10;Description automatically generated">
            <a:extLst>
              <a:ext uri="{FF2B5EF4-FFF2-40B4-BE49-F238E27FC236}">
                <a16:creationId xmlns:a16="http://schemas.microsoft.com/office/drawing/2014/main" id="{BE1FF6D1-EFDE-43D4-AFA3-CEAC077BE2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2198" y="36342"/>
            <a:ext cx="7435702" cy="637345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1AE25D7-95DA-46A1-BB80-CA9B840A7BB2}"/>
              </a:ext>
            </a:extLst>
          </p:cNvPr>
          <p:cNvSpPr txBox="1"/>
          <p:nvPr/>
        </p:nvSpPr>
        <p:spPr>
          <a:xfrm>
            <a:off x="2009553" y="1375345"/>
            <a:ext cx="23391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K-folds: 5</a:t>
            </a:r>
          </a:p>
          <a:p>
            <a:r>
              <a:rPr lang="de-DE" i="1" dirty="0"/>
              <a:t>CV_times: 10</a:t>
            </a:r>
          </a:p>
          <a:p>
            <a:endParaRPr lang="de-DE" i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CB0C28A-D293-400C-888A-1E5E50278208}"/>
              </a:ext>
            </a:extLst>
          </p:cNvPr>
          <p:cNvSpPr txBox="1"/>
          <p:nvPr/>
        </p:nvSpPr>
        <p:spPr>
          <a:xfrm>
            <a:off x="1640156" y="2445731"/>
            <a:ext cx="22292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Different training/test set every iteration</a:t>
            </a:r>
          </a:p>
        </p:txBody>
      </p:sp>
    </p:spTree>
    <p:extLst>
      <p:ext uri="{BB962C8B-B14F-4D97-AF65-F5344CB8AC3E}">
        <p14:creationId xmlns:p14="http://schemas.microsoft.com/office/powerpoint/2010/main" val="31988465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1AE25D7-95DA-46A1-BB80-CA9B840A7BB2}"/>
              </a:ext>
            </a:extLst>
          </p:cNvPr>
          <p:cNvSpPr txBox="1"/>
          <p:nvPr/>
        </p:nvSpPr>
        <p:spPr>
          <a:xfrm>
            <a:off x="2009553" y="1375345"/>
            <a:ext cx="23391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K-folds: 5</a:t>
            </a:r>
          </a:p>
          <a:p>
            <a:r>
              <a:rPr lang="de-DE" i="1" dirty="0"/>
              <a:t>CV_times: 10</a:t>
            </a:r>
          </a:p>
          <a:p>
            <a:endParaRPr lang="de-DE" i="1" dirty="0"/>
          </a:p>
        </p:txBody>
      </p:sp>
      <p:pic>
        <p:nvPicPr>
          <p:cNvPr id="8" name="Picture 7" descr="Chart, box and whisker chart&#10;&#10;Description automatically generated">
            <a:extLst>
              <a:ext uri="{FF2B5EF4-FFF2-40B4-BE49-F238E27FC236}">
                <a16:creationId xmlns:a16="http://schemas.microsoft.com/office/drawing/2014/main" id="{78F5F10E-4D5E-41FF-8736-02952C34D9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8113" y="248303"/>
            <a:ext cx="6978502" cy="598157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C27F803-3AA8-4F69-AF3B-7E5614CA4C9C}"/>
              </a:ext>
            </a:extLst>
          </p:cNvPr>
          <p:cNvSpPr txBox="1"/>
          <p:nvPr/>
        </p:nvSpPr>
        <p:spPr>
          <a:xfrm>
            <a:off x="1640156" y="2445731"/>
            <a:ext cx="22292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Different training/test set every iteration</a:t>
            </a:r>
          </a:p>
        </p:txBody>
      </p:sp>
    </p:spTree>
    <p:extLst>
      <p:ext uri="{BB962C8B-B14F-4D97-AF65-F5344CB8AC3E}">
        <p14:creationId xmlns:p14="http://schemas.microsoft.com/office/powerpoint/2010/main" val="26101777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E6E733B7-10DE-408D-8F12-152459D7AB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2633" y="273291"/>
            <a:ext cx="7265582" cy="622764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0033809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40E3D7-5107-4E67-BC35-608141D14CAD}"/>
              </a:ext>
            </a:extLst>
          </p:cNvPr>
          <p:cNvSpPr txBox="1"/>
          <p:nvPr/>
        </p:nvSpPr>
        <p:spPr>
          <a:xfrm>
            <a:off x="7160325" y="1218828"/>
            <a:ext cx="30413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50% abundance filt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CF22B55-8BD9-40FF-B0F0-6C056877F1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1579" y="1685986"/>
            <a:ext cx="4830087" cy="438423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392C14E-81CC-4697-9FED-98666E3E140C}"/>
              </a:ext>
            </a:extLst>
          </p:cNvPr>
          <p:cNvSpPr txBox="1"/>
          <p:nvPr/>
        </p:nvSpPr>
        <p:spPr>
          <a:xfrm>
            <a:off x="1311579" y="1236793"/>
            <a:ext cx="32858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10% abundance filt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8AC56F-7FF0-4533-BE08-D9D0CBADF699}"/>
              </a:ext>
            </a:extLst>
          </p:cNvPr>
          <p:cNvSpPr txBox="1"/>
          <p:nvPr/>
        </p:nvSpPr>
        <p:spPr>
          <a:xfrm>
            <a:off x="1443370" y="6141301"/>
            <a:ext cx="51700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Codacore: 393 524 555 580 643 683 773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18C7568-4BDE-4A1C-9B45-94C3057BE8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6422" y="1685986"/>
            <a:ext cx="4581967" cy="432679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9A5AB35-2F3A-44EB-B871-C79AD654FD72}"/>
              </a:ext>
            </a:extLst>
          </p:cNvPr>
          <p:cNvSpPr txBox="1"/>
          <p:nvPr/>
        </p:nvSpPr>
        <p:spPr>
          <a:xfrm>
            <a:off x="7160325" y="6110609"/>
            <a:ext cx="41101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Codacore: 10  50  57  89 11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65BFE79-A002-4591-982D-3650D78F1331}"/>
              </a:ext>
            </a:extLst>
          </p:cNvPr>
          <p:cNvSpPr txBox="1"/>
          <p:nvPr/>
        </p:nvSpPr>
        <p:spPr>
          <a:xfrm>
            <a:off x="7170256" y="6418300"/>
            <a:ext cx="33815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FINDALR: 10 14 16 40 4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254814-BF1C-4689-8274-18E03FB947D4}"/>
              </a:ext>
            </a:extLst>
          </p:cNvPr>
          <p:cNvSpPr txBox="1"/>
          <p:nvPr/>
        </p:nvSpPr>
        <p:spPr>
          <a:xfrm>
            <a:off x="1466343" y="6462630"/>
            <a:ext cx="34084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FINDALR: 10  14  52  64 50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634985-91FC-4261-88FA-9BFB2B58DA18}"/>
              </a:ext>
            </a:extLst>
          </p:cNvPr>
          <p:cNvSpPr txBox="1"/>
          <p:nvPr/>
        </p:nvSpPr>
        <p:spPr>
          <a:xfrm>
            <a:off x="4874769" y="357067"/>
            <a:ext cx="22292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Different training/test set every iteration</a:t>
            </a:r>
          </a:p>
        </p:txBody>
      </p:sp>
    </p:spTree>
    <p:extLst>
      <p:ext uri="{BB962C8B-B14F-4D97-AF65-F5344CB8AC3E}">
        <p14:creationId xmlns:p14="http://schemas.microsoft.com/office/powerpoint/2010/main" val="7327195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PCOS classification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7</a:t>
            </a:fld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64DD158-87E9-4945-854E-43A743180B32}"/>
              </a:ext>
            </a:extLst>
          </p:cNvPr>
          <p:cNvGrpSpPr/>
          <p:nvPr/>
        </p:nvGrpSpPr>
        <p:grpSpPr>
          <a:xfrm>
            <a:off x="268861" y="1571546"/>
            <a:ext cx="11765603" cy="4498672"/>
            <a:chOff x="268861" y="1571546"/>
            <a:chExt cx="11765603" cy="4498672"/>
          </a:xfrm>
        </p:grpSpPr>
        <p:pic>
          <p:nvPicPr>
            <p:cNvPr id="8" name="Picture 7" descr="Chart&#10;&#10;Description automatically generated">
              <a:extLst>
                <a:ext uri="{FF2B5EF4-FFF2-40B4-BE49-F238E27FC236}">
                  <a16:creationId xmlns:a16="http://schemas.microsoft.com/office/drawing/2014/main" id="{55CB28E4-49CB-4E8F-A6F3-7C5FFE3181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68861" y="1571547"/>
              <a:ext cx="5827138" cy="449867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1" name="Picture 10" descr="Chart, box and whisker chart&#10;&#10;Description automatically generated">
              <a:extLst>
                <a:ext uri="{FF2B5EF4-FFF2-40B4-BE49-F238E27FC236}">
                  <a16:creationId xmlns:a16="http://schemas.microsoft.com/office/drawing/2014/main" id="{19B0B986-1F43-4948-97F7-A51A55E77B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07325" y="1571546"/>
              <a:ext cx="5827139" cy="4498672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992391E-B307-4011-88E2-A4F08E856FC6}"/>
                </a:ext>
              </a:extLst>
            </p:cNvPr>
            <p:cNvSpPr txBox="1"/>
            <p:nvPr/>
          </p:nvSpPr>
          <p:spPr>
            <a:xfrm>
              <a:off x="268861" y="1571546"/>
              <a:ext cx="4040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A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265DB95-D91B-438F-B007-34A43DBBAD90}"/>
                </a:ext>
              </a:extLst>
            </p:cNvPr>
            <p:cNvSpPr txBox="1"/>
            <p:nvPr/>
          </p:nvSpPr>
          <p:spPr>
            <a:xfrm>
              <a:off x="6266198" y="1576112"/>
              <a:ext cx="4040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B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573981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PCOS regression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8</a:t>
            </a:fld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B09AD10-0114-4D96-B58E-0224E04E788C}"/>
              </a:ext>
            </a:extLst>
          </p:cNvPr>
          <p:cNvGrpSpPr/>
          <p:nvPr/>
        </p:nvGrpSpPr>
        <p:grpSpPr>
          <a:xfrm>
            <a:off x="343289" y="1562753"/>
            <a:ext cx="11753515" cy="4507464"/>
            <a:chOff x="343289" y="1562753"/>
            <a:chExt cx="11753515" cy="4507464"/>
          </a:xfrm>
        </p:grpSpPr>
        <p:pic>
          <p:nvPicPr>
            <p:cNvPr id="7" name="Picture 6" descr="Chart&#10;&#10;Description automatically generated with medium confidence">
              <a:extLst>
                <a:ext uri="{FF2B5EF4-FFF2-40B4-BE49-F238E27FC236}">
                  <a16:creationId xmlns:a16="http://schemas.microsoft.com/office/drawing/2014/main" id="{40B7D9E2-FFE1-4AA1-BFA0-15994C1BBD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3289" y="1571546"/>
              <a:ext cx="5827138" cy="449867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7" name="Picture 16" descr="Chart, scatter chart&#10;&#10;Description automatically generated">
              <a:extLst>
                <a:ext uri="{FF2B5EF4-FFF2-40B4-BE49-F238E27FC236}">
                  <a16:creationId xmlns:a16="http://schemas.microsoft.com/office/drawing/2014/main" id="{9A6472B1-518A-4AE2-A31E-D61700164C4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69666" y="1571546"/>
              <a:ext cx="5827138" cy="449867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A78CBE8-91A2-47D7-9746-38F6763F8ADD}"/>
                </a:ext>
              </a:extLst>
            </p:cNvPr>
            <p:cNvSpPr txBox="1"/>
            <p:nvPr/>
          </p:nvSpPr>
          <p:spPr>
            <a:xfrm>
              <a:off x="343289" y="1562753"/>
              <a:ext cx="4040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A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90A30952-7ED2-4BF0-ABBA-ADA322ABA079}"/>
                </a:ext>
              </a:extLst>
            </p:cNvPr>
            <p:cNvSpPr txBox="1"/>
            <p:nvPr/>
          </p:nvSpPr>
          <p:spPr>
            <a:xfrm>
              <a:off x="6296985" y="1571546"/>
              <a:ext cx="4040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B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929874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classification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2263A76-C406-4736-886C-0093566605DC}"/>
              </a:ext>
            </a:extLst>
          </p:cNvPr>
          <p:cNvSpPr txBox="1"/>
          <p:nvPr/>
        </p:nvSpPr>
        <p:spPr>
          <a:xfrm>
            <a:off x="9988317" y="36342"/>
            <a:ext cx="22292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Predicted on classical train/test split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36FDC44-B69A-416C-8E6B-EE72004795B2}"/>
              </a:ext>
            </a:extLst>
          </p:cNvPr>
          <p:cNvGrpSpPr/>
          <p:nvPr/>
        </p:nvGrpSpPr>
        <p:grpSpPr>
          <a:xfrm>
            <a:off x="332772" y="1539682"/>
            <a:ext cx="11724688" cy="4502847"/>
            <a:chOff x="332772" y="1539682"/>
            <a:chExt cx="11724688" cy="4502847"/>
          </a:xfrm>
        </p:grpSpPr>
        <p:pic>
          <p:nvPicPr>
            <p:cNvPr id="29" name="Picture 28" descr="Chart, waterfall chart&#10;&#10;Description automatically generated">
              <a:extLst>
                <a:ext uri="{FF2B5EF4-FFF2-40B4-BE49-F238E27FC236}">
                  <a16:creationId xmlns:a16="http://schemas.microsoft.com/office/drawing/2014/main" id="{7AA40558-61C9-49F3-9D5A-5311D4CA5A5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32772" y="1546936"/>
              <a:ext cx="5798708" cy="445364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31" name="Picture 30" descr="Chart, scatter chart&#10;&#10;Description automatically generated">
              <a:extLst>
                <a:ext uri="{FF2B5EF4-FFF2-40B4-BE49-F238E27FC236}">
                  <a16:creationId xmlns:a16="http://schemas.microsoft.com/office/drawing/2014/main" id="{29D89A53-3575-4EA3-AB2C-D278F08FDB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04137" y="1546936"/>
              <a:ext cx="5853323" cy="449559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AB45AF69-DD73-4F86-83B6-A7FDFA87035E}"/>
                </a:ext>
              </a:extLst>
            </p:cNvPr>
            <p:cNvSpPr txBox="1"/>
            <p:nvPr/>
          </p:nvSpPr>
          <p:spPr>
            <a:xfrm>
              <a:off x="343289" y="1562753"/>
              <a:ext cx="4040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A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8F2155E-6D4F-43B5-B1DF-B98644137419}"/>
                </a:ext>
              </a:extLst>
            </p:cNvPr>
            <p:cNvSpPr txBox="1"/>
            <p:nvPr/>
          </p:nvSpPr>
          <p:spPr>
            <a:xfrm>
              <a:off x="6197192" y="1539682"/>
              <a:ext cx="4040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B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813357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97F2DA0-82A3-49C5-A952-4C41FC7A8B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Goals</a:t>
            </a:r>
            <a:endParaRPr lang="en-US" b="1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1C34A8-38CB-4F99-BD0A-21BB12003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8D66F-D6E5-4434-B311-7DA25CA81F5A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38E154-BA79-4A10-8450-061DB6E474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4FC915-1ED9-4611-8B0F-C8AB3E2F7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 dirty="0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F3220D42-CE5E-491B-98FD-975C2BE575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6467629"/>
              </p:ext>
            </p:extLst>
          </p:nvPr>
        </p:nvGraphicFramePr>
        <p:xfrm>
          <a:off x="2423843" y="724958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929516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regression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58478DF-F55C-4045-95C1-11F014038F0C}"/>
              </a:ext>
            </a:extLst>
          </p:cNvPr>
          <p:cNvSpPr txBox="1"/>
          <p:nvPr/>
        </p:nvSpPr>
        <p:spPr>
          <a:xfrm>
            <a:off x="9988317" y="36342"/>
            <a:ext cx="22292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Predicted on classical train/test split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10DC0B4-F535-4628-865F-15321C563419}"/>
              </a:ext>
            </a:extLst>
          </p:cNvPr>
          <p:cNvGrpSpPr/>
          <p:nvPr/>
        </p:nvGrpSpPr>
        <p:grpSpPr>
          <a:xfrm>
            <a:off x="252151" y="1568231"/>
            <a:ext cx="11936067" cy="4539027"/>
            <a:chOff x="252151" y="1568231"/>
            <a:chExt cx="11936067" cy="4539027"/>
          </a:xfrm>
        </p:grpSpPr>
        <p:pic>
          <p:nvPicPr>
            <p:cNvPr id="15" name="Picture 14" descr="Chart, scatter chart&#10;&#10;Description automatically generated">
              <a:extLst>
                <a:ext uri="{FF2B5EF4-FFF2-40B4-BE49-F238E27FC236}">
                  <a16:creationId xmlns:a16="http://schemas.microsoft.com/office/drawing/2014/main" id="{7A2129D4-3EF6-408D-871C-16FF1FED7E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278345" y="1568232"/>
              <a:ext cx="5909873" cy="4539026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" name="Picture 7" descr="Chart&#10;&#10;Description automatically generated">
              <a:extLst>
                <a:ext uri="{FF2B5EF4-FFF2-40B4-BE49-F238E27FC236}">
                  <a16:creationId xmlns:a16="http://schemas.microsoft.com/office/drawing/2014/main" id="{18FEFF5D-5291-47D9-8A5A-1B0DC2872B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2151" y="1568231"/>
              <a:ext cx="5909874" cy="453902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45102374-4778-4B68-9CA1-A5E68CB76CCE}"/>
                </a:ext>
              </a:extLst>
            </p:cNvPr>
            <p:cNvGrpSpPr/>
            <p:nvPr/>
          </p:nvGrpSpPr>
          <p:grpSpPr>
            <a:xfrm>
              <a:off x="252151" y="1568232"/>
              <a:ext cx="6446664" cy="369332"/>
              <a:chOff x="252151" y="1568232"/>
              <a:chExt cx="6446664" cy="369332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0D61D08-D8D8-4769-AD7C-B1B7257A71ED}"/>
                  </a:ext>
                </a:extLst>
              </p:cNvPr>
              <p:cNvSpPr txBox="1"/>
              <p:nvPr/>
            </p:nvSpPr>
            <p:spPr>
              <a:xfrm>
                <a:off x="252151" y="1568232"/>
                <a:ext cx="40403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b="1" dirty="0"/>
                  <a:t>A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9ED734E7-11CB-4DCD-8AF1-37A74D604CB5}"/>
                  </a:ext>
                </a:extLst>
              </p:cNvPr>
              <p:cNvSpPr txBox="1"/>
              <p:nvPr/>
            </p:nvSpPr>
            <p:spPr>
              <a:xfrm>
                <a:off x="6294778" y="1568232"/>
                <a:ext cx="40403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b="1" dirty="0"/>
                  <a:t>B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075931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classification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036ADC-6479-46F9-BC8D-F76F4CA20E1B}"/>
              </a:ext>
            </a:extLst>
          </p:cNvPr>
          <p:cNvSpPr txBox="1"/>
          <p:nvPr/>
        </p:nvSpPr>
        <p:spPr>
          <a:xfrm>
            <a:off x="9962707" y="123070"/>
            <a:ext cx="22292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Predicted on GER holdout set!</a:t>
            </a:r>
          </a:p>
        </p:txBody>
      </p:sp>
      <p:pic>
        <p:nvPicPr>
          <p:cNvPr id="10" name="Picture 9" descr="Chart, scatter chart&#10;&#10;Description automatically generated">
            <a:extLst>
              <a:ext uri="{FF2B5EF4-FFF2-40B4-BE49-F238E27FC236}">
                <a16:creationId xmlns:a16="http://schemas.microsoft.com/office/drawing/2014/main" id="{4633E70C-2493-40F9-85F2-361F06F329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738" y="1557008"/>
            <a:ext cx="5876261" cy="45132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 descr="Chart, scatter chart&#10;&#10;Description automatically generated">
            <a:extLst>
              <a:ext uri="{FF2B5EF4-FFF2-40B4-BE49-F238E27FC236}">
                <a16:creationId xmlns:a16="http://schemas.microsoft.com/office/drawing/2014/main" id="{3E3BD775-2D19-4523-BC32-6D5DA49588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1450" y="1557008"/>
            <a:ext cx="5876261" cy="451321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6291323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classification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036ADC-6479-46F9-BC8D-F76F4CA20E1B}"/>
              </a:ext>
            </a:extLst>
          </p:cNvPr>
          <p:cNvSpPr txBox="1"/>
          <p:nvPr/>
        </p:nvSpPr>
        <p:spPr>
          <a:xfrm>
            <a:off x="9962707" y="123070"/>
            <a:ext cx="22292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Predicted on AUS holdout set!</a:t>
            </a:r>
          </a:p>
        </p:txBody>
      </p:sp>
    </p:spTree>
    <p:extLst>
      <p:ext uri="{BB962C8B-B14F-4D97-AF65-F5344CB8AC3E}">
        <p14:creationId xmlns:p14="http://schemas.microsoft.com/office/powerpoint/2010/main" val="32114685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classification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036ADC-6479-46F9-BC8D-F76F4CA20E1B}"/>
              </a:ext>
            </a:extLst>
          </p:cNvPr>
          <p:cNvSpPr txBox="1"/>
          <p:nvPr/>
        </p:nvSpPr>
        <p:spPr>
          <a:xfrm>
            <a:off x="9962707" y="123070"/>
            <a:ext cx="22292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Do all holdouts and combine?</a:t>
            </a:r>
          </a:p>
        </p:txBody>
      </p:sp>
    </p:spTree>
    <p:extLst>
      <p:ext uri="{BB962C8B-B14F-4D97-AF65-F5344CB8AC3E}">
        <p14:creationId xmlns:p14="http://schemas.microsoft.com/office/powerpoint/2010/main" val="28630507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IDEA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551B3F8-69A7-4DCB-910B-1046E03BF7CF}"/>
              </a:ext>
            </a:extLst>
          </p:cNvPr>
          <p:cNvSpPr txBox="1"/>
          <p:nvPr/>
        </p:nvSpPr>
        <p:spPr>
          <a:xfrm>
            <a:off x="1954001" y="1582340"/>
            <a:ext cx="7102549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de-DE" dirty="0"/>
              <a:t>Direct comparison if transformations are a big influence on leaky data</a:t>
            </a:r>
          </a:p>
          <a:p>
            <a:pPr marL="285750" indent="-285750">
              <a:buFontTx/>
              <a:buChar char="-"/>
            </a:pPr>
            <a:r>
              <a:rPr lang="de-DE" dirty="0"/>
              <a:t>Take CRC data set as it has clear correlations and gives nice control over test set via country codes</a:t>
            </a:r>
          </a:p>
          <a:p>
            <a:pPr marL="285750" indent="-285750">
              <a:buFontTx/>
              <a:buChar char="-"/>
            </a:pPr>
            <a:r>
              <a:rPr lang="de-DE" dirty="0"/>
              <a:t>Compare glmnet models with transformation separate on test/train set and on full data set</a:t>
            </a:r>
          </a:p>
          <a:p>
            <a:pPr marL="285750" indent="-285750">
              <a:buFontTx/>
              <a:buChar char="-"/>
            </a:pPr>
            <a:r>
              <a:rPr lang="de-DE" dirty="0"/>
              <a:t>Test first with two countries and TSS/CLR/ALR</a:t>
            </a:r>
          </a:p>
          <a:p>
            <a:pPr marL="285750" indent="-285750">
              <a:buFontTx/>
              <a:buChar char="-"/>
            </a:pPr>
            <a:r>
              <a:rPr lang="de-DE" dirty="0"/>
              <a:t>Main interest in ALR 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Note: possibility that different denominator is chosen for test set and train set -&gt; code needs to adjust for that -&gt; especially later in PCOS? -&gt; both denominators should be discarded from data set!</a:t>
            </a:r>
          </a:p>
        </p:txBody>
      </p:sp>
    </p:spTree>
    <p:extLst>
      <p:ext uri="{BB962C8B-B14F-4D97-AF65-F5344CB8AC3E}">
        <p14:creationId xmlns:p14="http://schemas.microsoft.com/office/powerpoint/2010/main" val="91468263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oncept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5</a:t>
            </a:fld>
            <a:endParaRPr lang="en-US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FEDD19D-C5AA-486C-B561-6C45447CAB5B}"/>
              </a:ext>
            </a:extLst>
          </p:cNvPr>
          <p:cNvGrpSpPr/>
          <p:nvPr/>
        </p:nvGrpSpPr>
        <p:grpSpPr>
          <a:xfrm>
            <a:off x="4194545" y="1039113"/>
            <a:ext cx="4815663" cy="4774051"/>
            <a:chOff x="4194545" y="1039113"/>
            <a:chExt cx="4815663" cy="477405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621BC174-A039-43CC-82EA-5C56E67AA224}"/>
                </a:ext>
              </a:extLst>
            </p:cNvPr>
            <p:cNvGrpSpPr/>
            <p:nvPr/>
          </p:nvGrpSpPr>
          <p:grpSpPr>
            <a:xfrm>
              <a:off x="4194545" y="1044836"/>
              <a:ext cx="2030818" cy="4768328"/>
              <a:chOff x="2270052" y="1268569"/>
              <a:chExt cx="2030818" cy="4768328"/>
            </a:xfrm>
          </p:grpSpPr>
          <p:cxnSp>
            <p:nvCxnSpPr>
              <p:cNvPr id="14" name="Straight Arrow Connector 13">
                <a:extLst>
                  <a:ext uri="{FF2B5EF4-FFF2-40B4-BE49-F238E27FC236}">
                    <a16:creationId xmlns:a16="http://schemas.microsoft.com/office/drawing/2014/main" id="{1A3C3072-2A30-456F-82D0-A5C926B3C5AB}"/>
                  </a:ext>
                </a:extLst>
              </p:cNvPr>
              <p:cNvCxnSpPr>
                <a:stCxn id="7" idx="2"/>
                <a:endCxn id="13" idx="0"/>
              </p:cNvCxnSpPr>
              <p:nvPr/>
            </p:nvCxnSpPr>
            <p:spPr>
              <a:xfrm flipH="1">
                <a:off x="3285461" y="2198133"/>
                <a:ext cx="2658" cy="3118105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C4D47203-95D0-4020-A5B5-49C837280BB4}"/>
                  </a:ext>
                </a:extLst>
              </p:cNvPr>
              <p:cNvSpPr txBox="1"/>
              <p:nvPr/>
            </p:nvSpPr>
            <p:spPr>
              <a:xfrm>
                <a:off x="2275368" y="1268569"/>
                <a:ext cx="2025502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dirty="0"/>
                  <a:t>Non-leaky</a:t>
                </a: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5C38B419-7268-4065-8EE1-BD8CBEFAAA18}"/>
                  </a:ext>
                </a:extLst>
              </p:cNvPr>
              <p:cNvSpPr/>
              <p:nvPr/>
            </p:nvSpPr>
            <p:spPr>
              <a:xfrm>
                <a:off x="2275368" y="1828801"/>
                <a:ext cx="2025502" cy="36933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Data set</a:t>
                </a: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B022A32-1EAC-4226-BF88-467693DDE6BB}"/>
                  </a:ext>
                </a:extLst>
              </p:cNvPr>
              <p:cNvSpPr/>
              <p:nvPr/>
            </p:nvSpPr>
            <p:spPr>
              <a:xfrm>
                <a:off x="2270052" y="2487252"/>
                <a:ext cx="2030818" cy="72065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Merging with metadata</a:t>
                </a: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C7ECC949-283C-4B6D-879F-F06B00DE00E4}"/>
                  </a:ext>
                </a:extLst>
              </p:cNvPr>
              <p:cNvSpPr/>
              <p:nvPr/>
            </p:nvSpPr>
            <p:spPr>
              <a:xfrm>
                <a:off x="2270052" y="3478938"/>
                <a:ext cx="2030818" cy="336144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Splitting data</a:t>
                </a: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120825D2-EA1E-4217-BAF3-CF9854BD65B7}"/>
                  </a:ext>
                </a:extLst>
              </p:cNvPr>
              <p:cNvSpPr/>
              <p:nvPr/>
            </p:nvSpPr>
            <p:spPr>
              <a:xfrm>
                <a:off x="2270052" y="4062500"/>
                <a:ext cx="2030818" cy="92902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Transformation separately on test and train set 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544F124-B9BC-4DB6-A0EB-B3604E431006}"/>
                  </a:ext>
                </a:extLst>
              </p:cNvPr>
              <p:cNvSpPr/>
              <p:nvPr/>
            </p:nvSpPr>
            <p:spPr>
              <a:xfrm>
                <a:off x="2270052" y="5316238"/>
                <a:ext cx="2030818" cy="72065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Modeling </a:t>
                </a:r>
              </a:p>
            </p:txBody>
          </p:sp>
        </p:grp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6B1FB7D0-62D9-49A3-8A9E-86C3B0799BBB}"/>
                </a:ext>
              </a:extLst>
            </p:cNvPr>
            <p:cNvCxnSpPr>
              <a:stCxn id="19" idx="2"/>
              <a:endCxn id="23" idx="0"/>
            </p:cNvCxnSpPr>
            <p:nvPr/>
          </p:nvCxnSpPr>
          <p:spPr>
            <a:xfrm flipH="1">
              <a:off x="7994799" y="1968677"/>
              <a:ext cx="2658" cy="3118105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987CA97-C223-4467-8B58-D5095C026FF3}"/>
                </a:ext>
              </a:extLst>
            </p:cNvPr>
            <p:cNvSpPr txBox="1"/>
            <p:nvPr/>
          </p:nvSpPr>
          <p:spPr>
            <a:xfrm>
              <a:off x="6984706" y="1039113"/>
              <a:ext cx="2025502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/>
                <a:t>leaky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D0CDE-9C14-4823-8960-5BAC13D75641}"/>
                </a:ext>
              </a:extLst>
            </p:cNvPr>
            <p:cNvSpPr/>
            <p:nvPr/>
          </p:nvSpPr>
          <p:spPr>
            <a:xfrm>
              <a:off x="6984706" y="1599345"/>
              <a:ext cx="2025502" cy="3693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Data set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C042A06-27D2-485A-836A-13AF98A1936F}"/>
                </a:ext>
              </a:extLst>
            </p:cNvPr>
            <p:cNvSpPr/>
            <p:nvPr/>
          </p:nvSpPr>
          <p:spPr>
            <a:xfrm>
              <a:off x="6979390" y="2257796"/>
              <a:ext cx="2030818" cy="84118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Transformations on whole data set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3A2B2C8-DD63-4B17-9E22-941093562A8F}"/>
                </a:ext>
              </a:extLst>
            </p:cNvPr>
            <p:cNvSpPr/>
            <p:nvPr/>
          </p:nvSpPr>
          <p:spPr>
            <a:xfrm>
              <a:off x="6979390" y="3376392"/>
              <a:ext cx="2030818" cy="60144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erging with metadata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50ABF19-FD4E-4A7E-8164-F8C7535FF9F8}"/>
                </a:ext>
              </a:extLst>
            </p:cNvPr>
            <p:cNvSpPr/>
            <p:nvPr/>
          </p:nvSpPr>
          <p:spPr>
            <a:xfrm>
              <a:off x="6979390" y="4255252"/>
              <a:ext cx="2030818" cy="40555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Splitting data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058ED71-2EAA-4FDB-A760-76D0E1C7EA5C}"/>
                </a:ext>
              </a:extLst>
            </p:cNvPr>
            <p:cNvSpPr/>
            <p:nvPr/>
          </p:nvSpPr>
          <p:spPr>
            <a:xfrm>
              <a:off x="6979390" y="5086782"/>
              <a:ext cx="2030818" cy="72065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odeling </a:t>
              </a: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B5E28B3B-967F-4429-A7EA-E9455F7FFB91}"/>
              </a:ext>
            </a:extLst>
          </p:cNvPr>
          <p:cNvSpPr txBox="1"/>
          <p:nvPr/>
        </p:nvSpPr>
        <p:spPr>
          <a:xfrm rot="365251">
            <a:off x="8499195" y="499942"/>
            <a:ext cx="3710763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rgbClr val="FF0000"/>
                </a:solidFill>
              </a:rPr>
              <a:t>Include also imputation once</a:t>
            </a:r>
          </a:p>
        </p:txBody>
      </p:sp>
    </p:spTree>
    <p:extLst>
      <p:ext uri="{BB962C8B-B14F-4D97-AF65-F5344CB8AC3E}">
        <p14:creationId xmlns:p14="http://schemas.microsoft.com/office/powerpoint/2010/main" val="93170847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C0D5D-1A09-42DA-AAA6-CB769F97AA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RC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31F9AA-9EEE-479B-9E4B-F880DD6927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2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341FFA-1CC5-4E6A-9383-BD2A101627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829FC6-6F02-4361-A6FE-C769EAA86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6A23E1A-23FA-4F87-8E6B-B6FB46A737F3}"/>
              </a:ext>
            </a:extLst>
          </p:cNvPr>
          <p:cNvSpPr txBox="1"/>
          <p:nvPr/>
        </p:nvSpPr>
        <p:spPr>
          <a:xfrm>
            <a:off x="8746081" y="58580"/>
            <a:ext cx="36115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CRC used</a:t>
            </a:r>
          </a:p>
          <a:p>
            <a:r>
              <a:rPr lang="de-DE" b="1" i="1" dirty="0"/>
              <a:t>Predicted once on GER and once on FRA and then combined</a:t>
            </a:r>
          </a:p>
        </p:txBody>
      </p:sp>
      <p:pic>
        <p:nvPicPr>
          <p:cNvPr id="10" name="Content Placeholder 9" descr="Chart, waterfall chart&#10;&#10;Description automatically generated">
            <a:extLst>
              <a:ext uri="{FF2B5EF4-FFF2-40B4-BE49-F238E27FC236}">
                <a16:creationId xmlns:a16="http://schemas.microsoft.com/office/drawing/2014/main" id="{66BBAD89-E1E9-43FD-A383-6596EA135C8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89212" y="1126326"/>
            <a:ext cx="6628056" cy="5116996"/>
          </a:xfr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6542031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C0D5D-1A09-42DA-AAA6-CB769F97AA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CO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31F9AA-9EEE-479B-9E4B-F880DD6927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2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341FFA-1CC5-4E6A-9383-BD2A101627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829FC6-6F02-4361-A6FE-C769EAA86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9" name="Content Placeholder 8" descr="Chart&#10;&#10;Description automatically generated">
            <a:extLst>
              <a:ext uri="{FF2B5EF4-FFF2-40B4-BE49-F238E27FC236}">
                <a16:creationId xmlns:a16="http://schemas.microsoft.com/office/drawing/2014/main" id="{A0E55F21-4603-4C01-9361-01FC6383088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526403" y="787782"/>
            <a:ext cx="6682808" cy="5159266"/>
          </a:xfr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46061468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re-Processing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C7BEBFF-3D20-441C-B1B2-0CE34904FDE4}"/>
              </a:ext>
            </a:extLst>
          </p:cNvPr>
          <p:cNvSpPr txBox="1"/>
          <p:nvPr/>
        </p:nvSpPr>
        <p:spPr>
          <a:xfrm>
            <a:off x="1698819" y="1152907"/>
            <a:ext cx="365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i="1" dirty="0"/>
              <a:t>Problems and N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BF96F-7A11-4087-9B01-CF6AACD20E04}"/>
              </a:ext>
            </a:extLst>
          </p:cNvPr>
          <p:cNvSpPr txBox="1"/>
          <p:nvPr/>
        </p:nvSpPr>
        <p:spPr>
          <a:xfrm>
            <a:off x="1698819" y="1834296"/>
            <a:ext cx="71025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CRC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128 rows removed due to NA in BMI</a:t>
            </a:r>
          </a:p>
          <a:p>
            <a:pPr marL="285750" indent="-285750">
              <a:buFontTx/>
              <a:buChar char="-"/>
            </a:pPr>
            <a:r>
              <a:rPr lang="de-DE" dirty="0"/>
              <a:t>DE saved separately as holdout </a:t>
            </a:r>
          </a:p>
          <a:p>
            <a:pPr marL="285750" indent="-285750">
              <a:buFontTx/>
              <a:buChar char="-"/>
            </a:pPr>
            <a:r>
              <a:rPr lang="de-DE" dirty="0"/>
              <a:t>All tests were done with country sets: USA, China, Austria, France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D214281-F802-4F96-A098-F69D765E4AFA}"/>
              </a:ext>
            </a:extLst>
          </p:cNvPr>
          <p:cNvSpPr txBox="1"/>
          <p:nvPr/>
        </p:nvSpPr>
        <p:spPr>
          <a:xfrm>
            <a:off x="6199935" y="93132"/>
            <a:ext cx="609777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u="sng" dirty="0"/>
              <a:t>Imputation</a:t>
            </a:r>
            <a:r>
              <a:rPr lang="de-DE" sz="1400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sz="1400" dirty="0"/>
              <a:t>mbImpute needs phylogenetic tree -&gt; ignored for now </a:t>
            </a:r>
          </a:p>
          <a:p>
            <a:pPr marL="285750" indent="-285750">
              <a:buFontTx/>
              <a:buChar char="-"/>
            </a:pPr>
            <a:r>
              <a:rPr lang="de-DE" sz="1400" dirty="0"/>
              <a:t>EstMB dataset: pseudocount inserts decimal values between 0 and 1</a:t>
            </a:r>
          </a:p>
          <a:p>
            <a:pPr marL="742950" lvl="1" indent="-285750">
              <a:buFontTx/>
              <a:buChar char="-"/>
            </a:pPr>
            <a:r>
              <a:rPr lang="de-DE" sz="1400" dirty="0"/>
              <a:t>Solution for now: all these values were rounded up to 1</a:t>
            </a:r>
          </a:p>
          <a:p>
            <a:pPr marL="742950" lvl="1" indent="-285750">
              <a:buFontTx/>
              <a:buChar char="-"/>
            </a:pPr>
            <a:r>
              <a:rPr lang="de-DE" sz="1400" dirty="0"/>
              <a:t>Possibly in a later run keep decimal values, because some papers suggest sensitivity to pseudocount in machine learning model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0ADFB58-875E-4AAE-BDAE-D861E7F9DC27}"/>
              </a:ext>
            </a:extLst>
          </p:cNvPr>
          <p:cNvSpPr txBox="1"/>
          <p:nvPr/>
        </p:nvSpPr>
        <p:spPr>
          <a:xfrm>
            <a:off x="1720971" y="3408432"/>
            <a:ext cx="710254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PCOS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6 rows removed in abundance table because they were not included in metadata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84548D0-C361-4108-B284-1351D54B8DFD}"/>
              </a:ext>
            </a:extLst>
          </p:cNvPr>
          <p:cNvSpPr txBox="1"/>
          <p:nvPr/>
        </p:nvSpPr>
        <p:spPr>
          <a:xfrm>
            <a:off x="1720971" y="4717667"/>
            <a:ext cx="710254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EstMB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21 rows removed in metadata due to NA</a:t>
            </a:r>
          </a:p>
          <a:p>
            <a:pPr marL="285750" indent="-285750">
              <a:buFontTx/>
              <a:buChar char="-"/>
            </a:pPr>
            <a:r>
              <a:rPr lang="de-DE" dirty="0"/>
              <a:t>21 patients cut out of abundance table due to metadata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55387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Transformation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jennifer.neumaier@t-online.d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C7BEBFF-3D20-441C-B1B2-0CE34904FDE4}"/>
              </a:ext>
            </a:extLst>
          </p:cNvPr>
          <p:cNvSpPr txBox="1"/>
          <p:nvPr/>
        </p:nvSpPr>
        <p:spPr>
          <a:xfrm>
            <a:off x="1698819" y="1152907"/>
            <a:ext cx="365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i="1" dirty="0"/>
              <a:t>Problems and N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BF96F-7A11-4087-9B01-CF6AACD20E04}"/>
              </a:ext>
            </a:extLst>
          </p:cNvPr>
          <p:cNvSpPr txBox="1"/>
          <p:nvPr/>
        </p:nvSpPr>
        <p:spPr>
          <a:xfrm>
            <a:off x="2589212" y="1742696"/>
            <a:ext cx="710254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CLR/ALR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What to do with LR.wt?</a:t>
            </a:r>
          </a:p>
          <a:p>
            <a:pPr marL="285750" indent="-285750">
              <a:buFontTx/>
              <a:buChar char="-"/>
            </a:pPr>
            <a:r>
              <a:rPr lang="de-DE" dirty="0"/>
              <a:t>What to do with part.names and part.wt?</a:t>
            </a:r>
          </a:p>
          <a:p>
            <a:pPr marL="285750" indent="-285750">
              <a:buFontTx/>
              <a:buChar char="-"/>
            </a:pPr>
            <a:r>
              <a:rPr lang="de-DE" dirty="0"/>
              <a:t>Column names ALR?</a:t>
            </a:r>
          </a:p>
          <a:p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B7B4AF-462B-468E-AAF9-0BB332281A81}"/>
              </a:ext>
            </a:extLst>
          </p:cNvPr>
          <p:cNvSpPr txBox="1"/>
          <p:nvPr/>
        </p:nvSpPr>
        <p:spPr>
          <a:xfrm>
            <a:off x="2589212" y="3278973"/>
            <a:ext cx="71025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EstMB: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Needs a lot of time for ALR -&gt; solved in HPC?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19356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73">
            <a:extLst>
              <a:ext uri="{FF2B5EF4-FFF2-40B4-BE49-F238E27FC236}">
                <a16:creationId xmlns:a16="http://schemas.microsoft.com/office/drawing/2014/main" id="{8F4A7934-5846-4F87-B95A-A7615F590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5490" y="655490"/>
            <a:ext cx="8911687" cy="1280890"/>
          </a:xfrm>
        </p:spPr>
        <p:txBody>
          <a:bodyPr/>
          <a:lstStyle/>
          <a:p>
            <a:r>
              <a:rPr lang="de-DE" sz="3600" b="1" dirty="0"/>
              <a:t>Projektstrukturplan I</a:t>
            </a:r>
            <a:endParaRPr lang="en-US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833BB0B7-2E07-4399-8A2F-D0337BF1EE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EB706-B4FB-4DF7-BDF7-514AEA7F06D0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4E5575C3-7A22-47B2-9B57-4795C96BE9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</a:p>
        </p:txBody>
      </p:sp>
      <p:sp>
        <p:nvSpPr>
          <p:cNvPr id="73" name="Slide Number Placeholder 72">
            <a:extLst>
              <a:ext uri="{FF2B5EF4-FFF2-40B4-BE49-F238E27FC236}">
                <a16:creationId xmlns:a16="http://schemas.microsoft.com/office/drawing/2014/main" id="{028DB16D-7F2E-4027-9DD3-4CBD261E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</a:t>
            </a:fld>
            <a:endParaRPr lang="en-US" dirty="0"/>
          </a:p>
        </p:txBody>
      </p:sp>
      <p:cxnSp>
        <p:nvCxnSpPr>
          <p:cNvPr id="4" name="AutoShape 3">
            <a:extLst>
              <a:ext uri="{FF2B5EF4-FFF2-40B4-BE49-F238E27FC236}">
                <a16:creationId xmlns:a16="http://schemas.microsoft.com/office/drawing/2014/main" id="{7A005AF7-D51C-4D88-8AB0-6A818AEB979D}"/>
              </a:ext>
            </a:extLst>
          </p:cNvPr>
          <p:cNvCxnSpPr>
            <a:cxnSpLocks noChangeShapeType="1"/>
            <a:stCxn id="6" idx="2"/>
            <a:endCxn id="7" idx="0"/>
          </p:cNvCxnSpPr>
          <p:nvPr>
            <p:custDataLst>
              <p:tags r:id="rId1"/>
            </p:custDataLst>
          </p:nvPr>
        </p:nvCxnSpPr>
        <p:spPr bwMode="auto">
          <a:xfrm rot="5400000">
            <a:off x="4205891" y="770339"/>
            <a:ext cx="367599" cy="3412622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AutoShape 5">
            <a:extLst>
              <a:ext uri="{FF2B5EF4-FFF2-40B4-BE49-F238E27FC236}">
                <a16:creationId xmlns:a16="http://schemas.microsoft.com/office/drawing/2014/main" id="{B66C936F-2090-4FB3-8B94-E6F69CF11E60}"/>
              </a:ext>
            </a:extLst>
          </p:cNvPr>
          <p:cNvCxnSpPr>
            <a:cxnSpLocks noChangeShapeType="1"/>
            <a:stCxn id="6" idx="2"/>
            <a:endCxn id="9" idx="0"/>
          </p:cNvCxnSpPr>
          <p:nvPr>
            <p:custDataLst>
              <p:tags r:id="rId2"/>
            </p:custDataLst>
          </p:nvPr>
        </p:nvCxnSpPr>
        <p:spPr bwMode="auto">
          <a:xfrm rot="16200000" flipH="1">
            <a:off x="6490308" y="1898542"/>
            <a:ext cx="367599" cy="1156214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Rechteck 26">
            <a:extLst>
              <a:ext uri="{FF2B5EF4-FFF2-40B4-BE49-F238E27FC236}">
                <a16:creationId xmlns:a16="http://schemas.microsoft.com/office/drawing/2014/main" id="{0446ACF9-2F3C-48A3-9E45-71ABBB39E71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225047" y="1701052"/>
            <a:ext cx="1741906" cy="591798"/>
          </a:xfrm>
          <a:prstGeom prst="rect">
            <a:avLst/>
          </a:prstGeom>
          <a:solidFill>
            <a:srgbClr val="FF09BF"/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500" b="1" dirty="0">
                <a:solidFill>
                  <a:schemeClr val="bg1"/>
                </a:solidFill>
              </a:rPr>
              <a:t>Benchmarking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" name="Rechteck 14">
            <a:extLst>
              <a:ext uri="{FF2B5EF4-FFF2-40B4-BE49-F238E27FC236}">
                <a16:creationId xmlns:a16="http://schemas.microsoft.com/office/drawing/2014/main" id="{D0C8F1E7-E2FF-43FF-8797-79375FE992AF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812426" y="2660449"/>
            <a:ext cx="1741904" cy="59179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oject management</a:t>
            </a:r>
          </a:p>
        </p:txBody>
      </p:sp>
      <p:sp>
        <p:nvSpPr>
          <p:cNvPr id="8" name="Rechteck 14">
            <a:extLst>
              <a:ext uri="{FF2B5EF4-FFF2-40B4-BE49-F238E27FC236}">
                <a16:creationId xmlns:a16="http://schemas.microsoft.com/office/drawing/2014/main" id="{B4AD61B0-EF72-4C6F-A0DA-5B5F61E9445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121149" y="2660450"/>
            <a:ext cx="1741904" cy="59179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Literature Review</a:t>
            </a:r>
          </a:p>
        </p:txBody>
      </p:sp>
      <p:sp>
        <p:nvSpPr>
          <p:cNvPr id="9" name="Rechteck 14">
            <a:extLst>
              <a:ext uri="{FF2B5EF4-FFF2-40B4-BE49-F238E27FC236}">
                <a16:creationId xmlns:a16="http://schemas.microsoft.com/office/drawing/2014/main" id="{554240BB-78E4-4D5A-A011-28BA81BC1D1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381262" y="2660449"/>
            <a:ext cx="1741904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ork Block 2</a:t>
            </a:r>
          </a:p>
        </p:txBody>
      </p:sp>
      <p:sp>
        <p:nvSpPr>
          <p:cNvPr id="10" name="Rechteck 14">
            <a:extLst>
              <a:ext uri="{FF2B5EF4-FFF2-40B4-BE49-F238E27FC236}">
                <a16:creationId xmlns:a16="http://schemas.microsoft.com/office/drawing/2014/main" id="{81E6290F-A961-40CB-B2CF-6E997748151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324046" y="4448683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Requirements</a:t>
            </a:r>
          </a:p>
        </p:txBody>
      </p:sp>
      <p:sp>
        <p:nvSpPr>
          <p:cNvPr id="11" name="Rechteck 14">
            <a:extLst>
              <a:ext uri="{FF2B5EF4-FFF2-40B4-BE49-F238E27FC236}">
                <a16:creationId xmlns:a16="http://schemas.microsoft.com/office/drawing/2014/main" id="{CF567F88-E049-4479-A1C4-CC859B93C36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324046" y="3543581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Goals</a:t>
            </a:r>
          </a:p>
        </p:txBody>
      </p:sp>
      <p:sp>
        <p:nvSpPr>
          <p:cNvPr id="12" name="Rechteck 14">
            <a:extLst>
              <a:ext uri="{FF2B5EF4-FFF2-40B4-BE49-F238E27FC236}">
                <a16:creationId xmlns:a16="http://schemas.microsoft.com/office/drawing/2014/main" id="{C2971265-5D73-4C9F-B0EF-82209254722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327440" y="3992679"/>
            <a:ext cx="1194691" cy="3676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Strategy</a:t>
            </a:r>
          </a:p>
        </p:txBody>
      </p:sp>
      <p:sp>
        <p:nvSpPr>
          <p:cNvPr id="13" name="Rechteck 14">
            <a:extLst>
              <a:ext uri="{FF2B5EF4-FFF2-40B4-BE49-F238E27FC236}">
                <a16:creationId xmlns:a16="http://schemas.microsoft.com/office/drawing/2014/main" id="{A6D05560-1C8C-40D4-8928-FB79CEF48C5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4418806" y="3458059"/>
            <a:ext cx="1473062" cy="45813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</a:rPr>
              <a:t>Collect Sources/Literature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" name="Rechteck 14">
            <a:extLst>
              <a:ext uri="{FF2B5EF4-FFF2-40B4-BE49-F238E27FC236}">
                <a16:creationId xmlns:a16="http://schemas.microsoft.com/office/drawing/2014/main" id="{ECFE5A69-3882-40DD-B0E9-09578552D7F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406411" y="4037232"/>
            <a:ext cx="1485457" cy="3676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Define Dataset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0F76322-0CB5-4E38-AF7E-F2E409B5070C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4406411" y="4516825"/>
            <a:ext cx="1485457" cy="3606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rite Review</a:t>
            </a:r>
          </a:p>
        </p:txBody>
      </p:sp>
      <p:sp>
        <p:nvSpPr>
          <p:cNvPr id="16" name="Rechteck 14">
            <a:extLst>
              <a:ext uri="{FF2B5EF4-FFF2-40B4-BE49-F238E27FC236}">
                <a16:creationId xmlns:a16="http://schemas.microsoft.com/office/drawing/2014/main" id="{5CA9411C-46CF-46EB-BD50-51252362B61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828330" y="3454079"/>
            <a:ext cx="1294836" cy="45813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Establish Pipeline</a:t>
            </a:r>
          </a:p>
        </p:txBody>
      </p:sp>
      <p:sp>
        <p:nvSpPr>
          <p:cNvPr id="17" name="Rechteck 14">
            <a:extLst>
              <a:ext uri="{FF2B5EF4-FFF2-40B4-BE49-F238E27FC236}">
                <a16:creationId xmlns:a16="http://schemas.microsoft.com/office/drawing/2014/main" id="{2F992FC1-78B1-4BA0-A829-6FF6EF840A4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828332" y="4049630"/>
            <a:ext cx="1294835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Data Transformation</a:t>
            </a: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A8FCAA41-1E95-4497-81DD-B4961C892F2D}"/>
              </a:ext>
            </a:extLst>
          </p:cNvPr>
          <p:cNvCxnSpPr>
            <a:stCxn id="7" idx="2"/>
            <a:endCxn id="11" idx="1"/>
          </p:cNvCxnSpPr>
          <p:nvPr/>
        </p:nvCxnSpPr>
        <p:spPr>
          <a:xfrm rot="5400000">
            <a:off x="2267872" y="3308422"/>
            <a:ext cx="471680" cy="359333"/>
          </a:xfrm>
          <a:prstGeom prst="bentConnector4">
            <a:avLst>
              <a:gd name="adj1" fmla="val 30883"/>
              <a:gd name="adj2" fmla="val 14771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1BF480AD-023C-45DD-A596-26FDB89A04A6}"/>
              </a:ext>
            </a:extLst>
          </p:cNvPr>
          <p:cNvCxnSpPr>
            <a:cxnSpLocks/>
            <a:stCxn id="7" idx="2"/>
            <a:endCxn id="12" idx="1"/>
          </p:cNvCxnSpPr>
          <p:nvPr/>
        </p:nvCxnSpPr>
        <p:spPr>
          <a:xfrm rot="5400000">
            <a:off x="2043293" y="3536392"/>
            <a:ext cx="924232" cy="355940"/>
          </a:xfrm>
          <a:prstGeom prst="bentConnector4">
            <a:avLst>
              <a:gd name="adj1" fmla="val 14813"/>
              <a:gd name="adj2" fmla="val 14816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89597093-EDA8-4171-A033-3CFAA5F23005}"/>
              </a:ext>
            </a:extLst>
          </p:cNvPr>
          <p:cNvCxnSpPr>
            <a:cxnSpLocks/>
            <a:stCxn id="7" idx="2"/>
            <a:endCxn id="10" idx="1"/>
          </p:cNvCxnSpPr>
          <p:nvPr/>
        </p:nvCxnSpPr>
        <p:spPr>
          <a:xfrm rot="5400000">
            <a:off x="1815321" y="3760973"/>
            <a:ext cx="1376783" cy="359333"/>
          </a:xfrm>
          <a:prstGeom prst="bentConnector4">
            <a:avLst>
              <a:gd name="adj1" fmla="val 10886"/>
              <a:gd name="adj2" fmla="val 14771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13A2D131-9A20-4616-8685-20DAD15B4A3B}"/>
              </a:ext>
            </a:extLst>
          </p:cNvPr>
          <p:cNvCxnSpPr>
            <a:cxnSpLocks/>
            <a:stCxn id="8" idx="2"/>
            <a:endCxn id="13" idx="1"/>
          </p:cNvCxnSpPr>
          <p:nvPr/>
        </p:nvCxnSpPr>
        <p:spPr>
          <a:xfrm rot="5400000">
            <a:off x="4488016" y="3183038"/>
            <a:ext cx="434877" cy="573296"/>
          </a:xfrm>
          <a:prstGeom prst="bentConnector4">
            <a:avLst>
              <a:gd name="adj1" fmla="val 23663"/>
              <a:gd name="adj2" fmla="val 12990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56FDA3F-9577-45C3-866B-420EC86DA48D}"/>
              </a:ext>
            </a:extLst>
          </p:cNvPr>
          <p:cNvCxnSpPr>
            <a:cxnSpLocks/>
            <a:stCxn id="8" idx="2"/>
            <a:endCxn id="14" idx="1"/>
          </p:cNvCxnSpPr>
          <p:nvPr/>
        </p:nvCxnSpPr>
        <p:spPr>
          <a:xfrm rot="5400000">
            <a:off x="4214865" y="3443794"/>
            <a:ext cx="968785" cy="585692"/>
          </a:xfrm>
          <a:prstGeom prst="bentConnector4">
            <a:avLst>
              <a:gd name="adj1" fmla="val 8490"/>
              <a:gd name="adj2" fmla="val 127879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6A2626C0-B4A1-466F-A04D-F05ECBD4D21A}"/>
              </a:ext>
            </a:extLst>
          </p:cNvPr>
          <p:cNvCxnSpPr>
            <a:cxnSpLocks/>
            <a:stCxn id="8" idx="2"/>
            <a:endCxn id="15" idx="1"/>
          </p:cNvCxnSpPr>
          <p:nvPr/>
        </p:nvCxnSpPr>
        <p:spPr>
          <a:xfrm rot="5400000">
            <a:off x="3976794" y="3681863"/>
            <a:ext cx="1444924" cy="585692"/>
          </a:xfrm>
          <a:prstGeom prst="bentConnector4">
            <a:avLst>
              <a:gd name="adj1" fmla="val 6467"/>
              <a:gd name="adj2" fmla="val 12927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BE2B6763-6D68-4F38-8804-B4BB3C23C6C0}"/>
              </a:ext>
            </a:extLst>
          </p:cNvPr>
          <p:cNvCxnSpPr>
            <a:cxnSpLocks/>
            <a:stCxn id="9" idx="2"/>
            <a:endCxn id="16" idx="1"/>
          </p:cNvCxnSpPr>
          <p:nvPr/>
        </p:nvCxnSpPr>
        <p:spPr>
          <a:xfrm rot="5400000">
            <a:off x="6824824" y="3255754"/>
            <a:ext cx="430898" cy="423884"/>
          </a:xfrm>
          <a:prstGeom prst="bentConnector4">
            <a:avLst>
              <a:gd name="adj1" fmla="val 23420"/>
              <a:gd name="adj2" fmla="val 162019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3009EE5A-E0DE-4518-9093-381B9B0669DD}"/>
              </a:ext>
            </a:extLst>
          </p:cNvPr>
          <p:cNvCxnSpPr>
            <a:cxnSpLocks/>
            <a:stCxn id="9" idx="2"/>
            <a:endCxn id="17" idx="1"/>
          </p:cNvCxnSpPr>
          <p:nvPr/>
        </p:nvCxnSpPr>
        <p:spPr>
          <a:xfrm rot="5400000">
            <a:off x="6493632" y="3586946"/>
            <a:ext cx="1093282" cy="423884"/>
          </a:xfrm>
          <a:prstGeom prst="bentConnector4">
            <a:avLst>
              <a:gd name="adj1" fmla="val 9982"/>
              <a:gd name="adj2" fmla="val 16381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49015121-387D-4B15-9725-77118633CDA9}"/>
              </a:ext>
            </a:extLst>
          </p:cNvPr>
          <p:cNvCxnSpPr>
            <a:cxnSpLocks/>
            <a:stCxn id="6" idx="2"/>
            <a:endCxn id="8" idx="0"/>
          </p:cNvCxnSpPr>
          <p:nvPr/>
        </p:nvCxnSpPr>
        <p:spPr>
          <a:xfrm rot="5400000">
            <a:off x="5360252" y="1924702"/>
            <a:ext cx="367600" cy="110389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Rechteck 14">
            <a:extLst>
              <a:ext uri="{FF2B5EF4-FFF2-40B4-BE49-F238E27FC236}">
                <a16:creationId xmlns:a16="http://schemas.microsoft.com/office/drawing/2014/main" id="{DE405621-1301-41D2-B2B9-278E5E77F98C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649918" y="2660449"/>
            <a:ext cx="1741904" cy="59179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ork Block 3</a:t>
            </a:r>
          </a:p>
        </p:txBody>
      </p:sp>
      <p:cxnSp>
        <p:nvCxnSpPr>
          <p:cNvPr id="28" name="AutoShape 5">
            <a:extLst>
              <a:ext uri="{FF2B5EF4-FFF2-40B4-BE49-F238E27FC236}">
                <a16:creationId xmlns:a16="http://schemas.microsoft.com/office/drawing/2014/main" id="{F96A2B56-DACD-4088-B041-0E1E28C8D16A}"/>
              </a:ext>
            </a:extLst>
          </p:cNvPr>
          <p:cNvCxnSpPr>
            <a:cxnSpLocks noChangeShapeType="1"/>
            <a:stCxn id="6" idx="2"/>
            <a:endCxn id="27" idx="0"/>
          </p:cNvCxnSpPr>
          <p:nvPr>
            <p:custDataLst>
              <p:tags r:id="rId16"/>
            </p:custDataLst>
          </p:nvPr>
        </p:nvCxnSpPr>
        <p:spPr bwMode="auto">
          <a:xfrm rot="16200000" flipH="1">
            <a:off x="7624636" y="764214"/>
            <a:ext cx="367599" cy="3424870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Rechteck 14">
            <a:extLst>
              <a:ext uri="{FF2B5EF4-FFF2-40B4-BE49-F238E27FC236}">
                <a16:creationId xmlns:a16="http://schemas.microsoft.com/office/drawing/2014/main" id="{257DE229-1E3E-4EAA-ADAE-525CB2778CCA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092395" y="3431391"/>
            <a:ext cx="1350494" cy="5465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riting Master Thesis</a:t>
            </a:r>
          </a:p>
        </p:txBody>
      </p: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875DE90B-555B-469F-A164-0A955FC5E3E7}"/>
              </a:ext>
            </a:extLst>
          </p:cNvPr>
          <p:cNvCxnSpPr>
            <a:cxnSpLocks/>
            <a:stCxn id="27" idx="2"/>
            <a:endCxn id="29" idx="1"/>
          </p:cNvCxnSpPr>
          <p:nvPr/>
        </p:nvCxnSpPr>
        <p:spPr>
          <a:xfrm rot="5400000">
            <a:off x="9080425" y="3264217"/>
            <a:ext cx="452414" cy="428475"/>
          </a:xfrm>
          <a:prstGeom prst="bentConnector4">
            <a:avLst>
              <a:gd name="adj1" fmla="val 19799"/>
              <a:gd name="adj2" fmla="val 14001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Rechteck 14">
            <a:extLst>
              <a:ext uri="{FF2B5EF4-FFF2-40B4-BE49-F238E27FC236}">
                <a16:creationId xmlns:a16="http://schemas.microsoft.com/office/drawing/2014/main" id="{51952D5E-B217-4358-8427-96719A4B6CA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9092395" y="4095913"/>
            <a:ext cx="1350494" cy="5465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esentation/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Defense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961F12BE-613C-46DB-BE59-BD63DF2E7871}"/>
              </a:ext>
            </a:extLst>
          </p:cNvPr>
          <p:cNvCxnSpPr>
            <a:cxnSpLocks/>
            <a:stCxn id="27" idx="2"/>
            <a:endCxn id="31" idx="1"/>
          </p:cNvCxnSpPr>
          <p:nvPr/>
        </p:nvCxnSpPr>
        <p:spPr>
          <a:xfrm rot="5400000">
            <a:off x="8748167" y="3596478"/>
            <a:ext cx="1116935" cy="428475"/>
          </a:xfrm>
          <a:prstGeom prst="bentConnector4">
            <a:avLst>
              <a:gd name="adj1" fmla="val 8016"/>
              <a:gd name="adj2" fmla="val 14001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70CD0C95-D5A9-4F6C-9FA1-1B79286AE232}"/>
              </a:ext>
            </a:extLst>
          </p:cNvPr>
          <p:cNvSpPr txBox="1"/>
          <p:nvPr/>
        </p:nvSpPr>
        <p:spPr>
          <a:xfrm>
            <a:off x="1730001" y="1255045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31.03.22</a:t>
            </a:r>
            <a:endParaRPr lang="en-US" sz="1350" dirty="0"/>
          </a:p>
        </p:txBody>
      </p:sp>
      <p:pic>
        <p:nvPicPr>
          <p:cNvPr id="37" name="Graphic 36" descr="Checkmark with solid fill">
            <a:extLst>
              <a:ext uri="{FF2B5EF4-FFF2-40B4-BE49-F238E27FC236}">
                <a16:creationId xmlns:a16="http://schemas.microsoft.com/office/drawing/2014/main" id="{3AE1481F-A912-4A48-8583-C052B011F09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44183" y="3519021"/>
            <a:ext cx="307151" cy="307151"/>
          </a:xfrm>
          <a:prstGeom prst="rect">
            <a:avLst/>
          </a:prstGeom>
        </p:spPr>
      </p:pic>
      <p:sp>
        <p:nvSpPr>
          <p:cNvPr id="44" name="Rechteck 14">
            <a:extLst>
              <a:ext uri="{FF2B5EF4-FFF2-40B4-BE49-F238E27FC236}">
                <a16:creationId xmlns:a16="http://schemas.microsoft.com/office/drawing/2014/main" id="{88BBF705-E079-407C-9B7F-2350F7A4CD1E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2311955" y="4929229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Quality Management</a:t>
            </a:r>
          </a:p>
        </p:txBody>
      </p:sp>
      <p:sp>
        <p:nvSpPr>
          <p:cNvPr id="45" name="Rechteck 14">
            <a:extLst>
              <a:ext uri="{FF2B5EF4-FFF2-40B4-BE49-F238E27FC236}">
                <a16:creationId xmlns:a16="http://schemas.microsoft.com/office/drawing/2014/main" id="{F2EE2162-6E14-4449-879B-B7BF28594D71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2311954" y="5378326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GitHub</a:t>
            </a:r>
          </a:p>
        </p:txBody>
      </p: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329CC727-8048-477F-9E85-41EECBFF5892}"/>
              </a:ext>
            </a:extLst>
          </p:cNvPr>
          <p:cNvCxnSpPr>
            <a:cxnSpLocks/>
            <a:stCxn id="7" idx="2"/>
            <a:endCxn id="44" idx="1"/>
          </p:cNvCxnSpPr>
          <p:nvPr/>
        </p:nvCxnSpPr>
        <p:spPr>
          <a:xfrm rot="5400000">
            <a:off x="1569002" y="3995199"/>
            <a:ext cx="1857329" cy="371424"/>
          </a:xfrm>
          <a:prstGeom prst="bentConnector4">
            <a:avLst>
              <a:gd name="adj1" fmla="val 6902"/>
              <a:gd name="adj2" fmla="val 14616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30FF5804-6F0F-4C66-8037-30E63A77D89C}"/>
              </a:ext>
            </a:extLst>
          </p:cNvPr>
          <p:cNvCxnSpPr>
            <a:cxnSpLocks/>
            <a:stCxn id="7" idx="2"/>
            <a:endCxn id="45" idx="1"/>
          </p:cNvCxnSpPr>
          <p:nvPr/>
        </p:nvCxnSpPr>
        <p:spPr>
          <a:xfrm rot="5400000">
            <a:off x="1344453" y="4219749"/>
            <a:ext cx="2306426" cy="371425"/>
          </a:xfrm>
          <a:prstGeom prst="bentConnector4">
            <a:avLst>
              <a:gd name="adj1" fmla="val 5736"/>
              <a:gd name="adj2" fmla="val 14616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Rechteck 14">
            <a:extLst>
              <a:ext uri="{FF2B5EF4-FFF2-40B4-BE49-F238E27FC236}">
                <a16:creationId xmlns:a16="http://schemas.microsoft.com/office/drawing/2014/main" id="{7339E823-85CB-4433-A26A-B375610B1513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4406410" y="4983629"/>
            <a:ext cx="1485457" cy="3606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esentation</a:t>
            </a:r>
          </a:p>
        </p:txBody>
      </p:sp>
      <p:sp>
        <p:nvSpPr>
          <p:cNvPr id="62" name="Rechteck 14">
            <a:extLst>
              <a:ext uri="{FF2B5EF4-FFF2-40B4-BE49-F238E27FC236}">
                <a16:creationId xmlns:a16="http://schemas.microsoft.com/office/drawing/2014/main" id="{2C0C1F2B-9D4A-49FD-98E9-1C285FE9B09F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828332" y="4740732"/>
            <a:ext cx="1294835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Comparison ML models</a:t>
            </a:r>
          </a:p>
        </p:txBody>
      </p: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02F51ECE-F257-47F0-93B5-EF7C2C5E678C}"/>
              </a:ext>
            </a:extLst>
          </p:cNvPr>
          <p:cNvCxnSpPr>
            <a:cxnSpLocks/>
            <a:endCxn id="62" idx="1"/>
          </p:cNvCxnSpPr>
          <p:nvPr/>
        </p:nvCxnSpPr>
        <p:spPr>
          <a:xfrm rot="5400000">
            <a:off x="6171928" y="3956344"/>
            <a:ext cx="1736690" cy="423885"/>
          </a:xfrm>
          <a:prstGeom prst="bentConnector4">
            <a:avLst>
              <a:gd name="adj1" fmla="val 2462"/>
              <a:gd name="adj2" fmla="val 16548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" name="Rechteck 14">
            <a:extLst>
              <a:ext uri="{FF2B5EF4-FFF2-40B4-BE49-F238E27FC236}">
                <a16:creationId xmlns:a16="http://schemas.microsoft.com/office/drawing/2014/main" id="{7EEB4601-DA9F-4092-B374-93130CC0D973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088444" y="4738015"/>
            <a:ext cx="1350494" cy="45241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aper</a:t>
            </a:r>
          </a:p>
        </p:txBody>
      </p: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29A2A9E5-60B3-4D94-893C-C90F8595A380}"/>
              </a:ext>
            </a:extLst>
          </p:cNvPr>
          <p:cNvCxnSpPr>
            <a:cxnSpLocks/>
            <a:stCxn id="27" idx="2"/>
            <a:endCxn id="68" idx="1"/>
          </p:cNvCxnSpPr>
          <p:nvPr/>
        </p:nvCxnSpPr>
        <p:spPr>
          <a:xfrm rot="5400000">
            <a:off x="8448671" y="3892021"/>
            <a:ext cx="1711975" cy="432426"/>
          </a:xfrm>
          <a:prstGeom prst="bentConnector4">
            <a:avLst>
              <a:gd name="adj1" fmla="val 4765"/>
              <a:gd name="adj2" fmla="val 13964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7E1E1989-4B8D-47BD-AA8D-1F4320E03ED9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rot="5400000">
            <a:off x="4205890" y="770338"/>
            <a:ext cx="367599" cy="341262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0E3B0F20-8E1D-4CE5-80E7-A1863586CFA9}"/>
              </a:ext>
            </a:extLst>
          </p:cNvPr>
          <p:cNvCxnSpPr>
            <a:cxnSpLocks/>
            <a:stCxn id="6" idx="2"/>
            <a:endCxn id="9" idx="0"/>
          </p:cNvCxnSpPr>
          <p:nvPr/>
        </p:nvCxnSpPr>
        <p:spPr>
          <a:xfrm rot="16200000" flipH="1">
            <a:off x="6490308" y="1898542"/>
            <a:ext cx="367599" cy="115621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D578692E-BD81-4AFD-B459-FB1A76751B82}"/>
              </a:ext>
            </a:extLst>
          </p:cNvPr>
          <p:cNvCxnSpPr>
            <a:cxnSpLocks/>
            <a:stCxn id="6" idx="2"/>
            <a:endCxn id="27" idx="0"/>
          </p:cNvCxnSpPr>
          <p:nvPr/>
        </p:nvCxnSpPr>
        <p:spPr>
          <a:xfrm rot="16200000" flipH="1">
            <a:off x="7624636" y="764214"/>
            <a:ext cx="367599" cy="342487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56" name="Graphic 55" descr="Checkmark with solid fill">
            <a:extLst>
              <a:ext uri="{FF2B5EF4-FFF2-40B4-BE49-F238E27FC236}">
                <a16:creationId xmlns:a16="http://schemas.microsoft.com/office/drawing/2014/main" id="{FE8B32CC-5E24-4473-ACAB-47BD33B262E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26237" y="4520263"/>
            <a:ext cx="307151" cy="307151"/>
          </a:xfrm>
          <a:prstGeom prst="rect">
            <a:avLst/>
          </a:prstGeom>
        </p:spPr>
      </p:pic>
      <p:pic>
        <p:nvPicPr>
          <p:cNvPr id="58" name="Graphic 57" descr="Checkmark with solid fill">
            <a:extLst>
              <a:ext uri="{FF2B5EF4-FFF2-40B4-BE49-F238E27FC236}">
                <a16:creationId xmlns:a16="http://schemas.microsoft.com/office/drawing/2014/main" id="{E71C6F8E-9167-42C0-B552-276400699AA6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17476" y="3597355"/>
            <a:ext cx="307151" cy="307151"/>
          </a:xfrm>
          <a:prstGeom prst="rect">
            <a:avLst/>
          </a:prstGeom>
        </p:spPr>
      </p:pic>
      <p:pic>
        <p:nvPicPr>
          <p:cNvPr id="59" name="Graphic 58" descr="Checkmark with solid fill">
            <a:extLst>
              <a:ext uri="{FF2B5EF4-FFF2-40B4-BE49-F238E27FC236}">
                <a16:creationId xmlns:a16="http://schemas.microsoft.com/office/drawing/2014/main" id="{F7F772AA-79D2-4B08-BE53-BC16A6ED3B5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48572" y="4504348"/>
            <a:ext cx="307151" cy="307151"/>
          </a:xfrm>
          <a:prstGeom prst="rect">
            <a:avLst/>
          </a:prstGeom>
        </p:spPr>
      </p:pic>
      <p:pic>
        <p:nvPicPr>
          <p:cNvPr id="61" name="Graphic 60" descr="Checkmark with solid fill">
            <a:extLst>
              <a:ext uri="{FF2B5EF4-FFF2-40B4-BE49-F238E27FC236}">
                <a16:creationId xmlns:a16="http://schemas.microsoft.com/office/drawing/2014/main" id="{71B3D584-3210-40A6-9BC8-49EDF26674D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10193" y="4011589"/>
            <a:ext cx="307151" cy="307151"/>
          </a:xfrm>
          <a:prstGeom prst="rect">
            <a:avLst/>
          </a:prstGeom>
        </p:spPr>
      </p:pic>
      <p:pic>
        <p:nvPicPr>
          <p:cNvPr id="34" name="Graphic 33" descr="Close with solid fill">
            <a:extLst>
              <a:ext uri="{FF2B5EF4-FFF2-40B4-BE49-F238E27FC236}">
                <a16:creationId xmlns:a16="http://schemas.microsoft.com/office/drawing/2014/main" id="{E98B86D3-2AAA-4120-99D3-797D3A150331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975047" y="3532546"/>
            <a:ext cx="382761" cy="382761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5596008F-3F97-464D-A5A5-0D17959ACABC}"/>
              </a:ext>
            </a:extLst>
          </p:cNvPr>
          <p:cNvSpPr txBox="1"/>
          <p:nvPr/>
        </p:nvSpPr>
        <p:spPr>
          <a:xfrm>
            <a:off x="8792220" y="453820"/>
            <a:ext cx="32934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/>
              <a:t>*Good pipeling exists with mikropml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39BB22B-C82B-4BA1-BA74-FC15E3ECF079}"/>
              </a:ext>
            </a:extLst>
          </p:cNvPr>
          <p:cNvSpPr txBox="1"/>
          <p:nvPr/>
        </p:nvSpPr>
        <p:spPr>
          <a:xfrm>
            <a:off x="8155403" y="3378657"/>
            <a:ext cx="3081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/>
              <a:t>*</a:t>
            </a:r>
          </a:p>
        </p:txBody>
      </p:sp>
      <p:pic>
        <p:nvPicPr>
          <p:cNvPr id="65" name="Graphic 64" descr="Checkmark with solid fill">
            <a:extLst>
              <a:ext uri="{FF2B5EF4-FFF2-40B4-BE49-F238E27FC236}">
                <a16:creationId xmlns:a16="http://schemas.microsoft.com/office/drawing/2014/main" id="{C52E629F-A72D-4237-BE87-494E938BDE6A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50237" y="4043735"/>
            <a:ext cx="307151" cy="307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2658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Hierarchy dimensionality reduction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C7BEBFF-3D20-441C-B1B2-0CE34904FDE4}"/>
              </a:ext>
            </a:extLst>
          </p:cNvPr>
          <p:cNvSpPr txBox="1"/>
          <p:nvPr/>
        </p:nvSpPr>
        <p:spPr>
          <a:xfrm>
            <a:off x="1698819" y="1152907"/>
            <a:ext cx="365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i="1" dirty="0"/>
              <a:t>Problems and N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BF96F-7A11-4087-9B01-CF6AACD20E04}"/>
              </a:ext>
            </a:extLst>
          </p:cNvPr>
          <p:cNvSpPr txBox="1"/>
          <p:nvPr/>
        </p:nvSpPr>
        <p:spPr>
          <a:xfrm>
            <a:off x="2589212" y="1742696"/>
            <a:ext cx="71025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PCA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Microbiome Preprocessing Machine Learning Pipeline (2021)</a:t>
            </a:r>
          </a:p>
          <a:p>
            <a:pPr marL="285750" indent="-285750">
              <a:buFontTx/>
              <a:buChar char="-"/>
            </a:pPr>
            <a:r>
              <a:rPr lang="de-DE" dirty="0"/>
              <a:t>Proposes to use PCA as hierarchy reduction </a:t>
            </a:r>
          </a:p>
          <a:p>
            <a:pPr marL="285750" indent="-285750">
              <a:buFontTx/>
              <a:buChar char="-"/>
            </a:pPr>
            <a:r>
              <a:rPr lang="de-DE" dirty="0"/>
              <a:t>Families can be clustered and genus is not necessary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291960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mikropml</a:t>
            </a:r>
            <a:endParaRPr lang="en-US" sz="3200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FAD4F5-81D5-4890-8BB5-F06C93EDD254}"/>
              </a:ext>
            </a:extLst>
          </p:cNvPr>
          <p:cNvSpPr txBox="1"/>
          <p:nvPr/>
        </p:nvSpPr>
        <p:spPr>
          <a:xfrm>
            <a:off x="1392866" y="1268569"/>
            <a:ext cx="8753253" cy="5509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100" dirty="0"/>
              <a:t>Testing out mikropml as it already has a function run_ml() that incorporates nested cross-validation for several standard supervised machine learning models:</a:t>
            </a:r>
          </a:p>
          <a:p>
            <a:endParaRPr lang="de-DE" sz="1100" dirty="0"/>
          </a:p>
          <a:p>
            <a:r>
              <a:rPr lang="de-DE" sz="1100" dirty="0"/>
              <a:t>    Logistic/multiclass/linear regression ("glmnet")</a:t>
            </a:r>
          </a:p>
          <a:p>
            <a:r>
              <a:rPr lang="de-DE" sz="1100" dirty="0"/>
              <a:t>    Random forest ("rf")</a:t>
            </a:r>
          </a:p>
          <a:p>
            <a:r>
              <a:rPr lang="de-DE" sz="1100" dirty="0"/>
              <a:t>    Decision tree ("rpart2")</a:t>
            </a:r>
          </a:p>
          <a:p>
            <a:r>
              <a:rPr lang="de-DE" sz="1100" dirty="0"/>
              <a:t>    Support vector machine with a radial basis kernel ("svmRadial")</a:t>
            </a:r>
          </a:p>
          <a:p>
            <a:r>
              <a:rPr lang="de-DE" sz="1100" dirty="0"/>
              <a:t>    xgboost ("xgbTree")</a:t>
            </a:r>
          </a:p>
          <a:p>
            <a:endParaRPr lang="de-DE" sz="1100" dirty="0"/>
          </a:p>
          <a:p>
            <a:r>
              <a:rPr lang="de-DE" sz="1100" dirty="0"/>
              <a:t>Test it here for linear regression and xgboost.</a:t>
            </a:r>
          </a:p>
          <a:p>
            <a:r>
              <a:rPr lang="de-DE" sz="1100" dirty="0"/>
              <a:t>Function run_ml has several parameters:</a:t>
            </a:r>
          </a:p>
          <a:p>
            <a:r>
              <a:rPr lang="de-DE" sz="1100" dirty="0"/>
              <a:t>           dataset,</a:t>
            </a:r>
          </a:p>
          <a:p>
            <a:r>
              <a:rPr lang="de-DE" sz="1100" dirty="0"/>
              <a:t>           method,</a:t>
            </a:r>
          </a:p>
          <a:p>
            <a:r>
              <a:rPr lang="de-DE" sz="1100" dirty="0"/>
              <a:t>           outcome_colname = NULL, (standardized the first column)</a:t>
            </a:r>
          </a:p>
          <a:p>
            <a:r>
              <a:rPr lang="de-DE" sz="1100" dirty="0"/>
              <a:t>           hyperparameters = NULL,</a:t>
            </a:r>
          </a:p>
          <a:p>
            <a:r>
              <a:rPr lang="de-DE" sz="1100" dirty="0"/>
              <a:t>           find_feature_importance = FALSE, (`TRUE` is recommended if you would like to identify features important for predicting your                                                outcome, but it is resource-intensive.</a:t>
            </a:r>
          </a:p>
          <a:p>
            <a:r>
              <a:rPr lang="de-DE" sz="1100" dirty="0"/>
              <a:t>           calculate_performance = TRUE,</a:t>
            </a:r>
          </a:p>
          <a:p>
            <a:r>
              <a:rPr lang="de-DE" sz="1100" dirty="0"/>
              <a:t>           kfold = 5, (standard at 5)</a:t>
            </a:r>
          </a:p>
          <a:p>
            <a:r>
              <a:rPr lang="de-DE" sz="1100" dirty="0"/>
              <a:t>           cv_times = 100, (standard at 100)</a:t>
            </a:r>
          </a:p>
          <a:p>
            <a:r>
              <a:rPr lang="de-DE" sz="1100" dirty="0"/>
              <a:t>           cross_val = NULL, (cross_val a custom cross-validation scheme from `caret::trainControl()` (default: `NULL`, uses `kfold` cross                              validation repeated `cv_times`). `kfold` and `cv_times` are ignored if the user provides a custom                                          cross-validation scheme.)</a:t>
            </a:r>
          </a:p>
          <a:p>
            <a:r>
              <a:rPr lang="de-DE" sz="1100" dirty="0"/>
              <a:t>           training_frac = 0.8, (standard at 0.8)</a:t>
            </a:r>
          </a:p>
          <a:p>
            <a:r>
              <a:rPr lang="de-DE" sz="1100" dirty="0"/>
              <a:t>           perf_metric_function = NULL,</a:t>
            </a:r>
          </a:p>
          <a:p>
            <a:r>
              <a:rPr lang="de-DE" sz="1100" dirty="0"/>
              <a:t>           perf_metric_name = NULL,</a:t>
            </a:r>
          </a:p>
          <a:p>
            <a:r>
              <a:rPr lang="de-DE" sz="1100" dirty="0"/>
              <a:t>           groups = NULL,</a:t>
            </a:r>
          </a:p>
          <a:p>
            <a:r>
              <a:rPr lang="de-DE" sz="1100" dirty="0"/>
              <a:t>           group_partitions = NULL,</a:t>
            </a:r>
          </a:p>
          <a:p>
            <a:r>
              <a:rPr lang="de-DE" sz="1100" dirty="0"/>
              <a:t>           corr_thresh = 1,</a:t>
            </a:r>
          </a:p>
          <a:p>
            <a:r>
              <a:rPr lang="de-DE" sz="1100" dirty="0"/>
              <a:t>           ntree = 1000, (For random forest, how many trees to use (default: `1000`). Caret doesn't allow this hyperparameter to be tuned)</a:t>
            </a:r>
          </a:p>
          <a:p>
            <a:r>
              <a:rPr lang="de-DE" sz="1100" dirty="0"/>
              <a:t>           seed = NA (set seed for reproducibility)</a:t>
            </a:r>
          </a:p>
        </p:txBody>
      </p:sp>
    </p:spTree>
    <p:extLst>
      <p:ext uri="{BB962C8B-B14F-4D97-AF65-F5344CB8AC3E}">
        <p14:creationId xmlns:p14="http://schemas.microsoft.com/office/powerpoint/2010/main" val="354146490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Data set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92495" y="1317171"/>
            <a:ext cx="8915400" cy="4369465"/>
          </a:xfrm>
        </p:spPr>
        <p:txBody>
          <a:bodyPr>
            <a:normAutofit/>
          </a:bodyPr>
          <a:lstStyle/>
          <a:p>
            <a:r>
              <a:rPr lang="de-DE" dirty="0"/>
              <a:t>Compare what Thomas P. Quinn uses (13 datasets) and take out from estonian biobank</a:t>
            </a:r>
          </a:p>
          <a:p>
            <a:r>
              <a:rPr lang="de-DE" dirty="0"/>
              <a:t> prediction/classification tasks</a:t>
            </a:r>
          </a:p>
          <a:p>
            <a:r>
              <a:rPr lang="de-DE" dirty="0"/>
              <a:t>One with continuous and one with discrete variables</a:t>
            </a:r>
          </a:p>
          <a:p>
            <a:r>
              <a:rPr lang="de-DE" dirty="0"/>
              <a:t>one with high correlation and one with low to microbiomes</a:t>
            </a:r>
          </a:p>
          <a:p>
            <a:r>
              <a:rPr lang="de-DE" dirty="0"/>
              <a:t>one small and one large data set</a:t>
            </a:r>
          </a:p>
          <a:p>
            <a:r>
              <a:rPr lang="de-DE" dirty="0"/>
              <a:t>EstMB, colorectal cancer, PCOS</a:t>
            </a:r>
          </a:p>
          <a:p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A373959-7937-4239-AAA7-0B90CAF1A620}"/>
              </a:ext>
            </a:extLst>
          </p:cNvPr>
          <p:cNvSpPr txBox="1"/>
          <p:nvPr/>
        </p:nvSpPr>
        <p:spPr>
          <a:xfrm>
            <a:off x="2260283" y="4487322"/>
            <a:ext cx="609790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/>
              <a:t>CRC data set preparation and models:</a:t>
            </a:r>
          </a:p>
          <a:p>
            <a:r>
              <a:rPr lang="de-DE" dirty="0"/>
              <a:t>https://github.com/zellerlab/crc_meta/blob/master/src/prepare_data.R</a:t>
            </a:r>
          </a:p>
        </p:txBody>
      </p:sp>
    </p:spTree>
    <p:extLst>
      <p:ext uri="{BB962C8B-B14F-4D97-AF65-F5344CB8AC3E}">
        <p14:creationId xmlns:p14="http://schemas.microsoft.com/office/powerpoint/2010/main" val="409792226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05161"/>
            <a:ext cx="8911687" cy="1280890"/>
          </a:xfrm>
        </p:spPr>
        <p:txBody>
          <a:bodyPr/>
          <a:lstStyle/>
          <a:p>
            <a:r>
              <a:rPr lang="de-DE" b="1" dirty="0"/>
              <a:t>Amalgams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CE7145C-47D9-4CE4-B47E-794DEF5137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D716FE-4A5D-4A13-A8EE-37F9C34BE666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5ACE4E-266D-4B52-BD0C-EA6887FE1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E670CF-FED5-4CBE-A63F-5AEF0B83A9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3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AB2FBBF-2A25-4F38-BF85-58B69A5FEF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6869" y="1406382"/>
            <a:ext cx="6315075" cy="11001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65323F0-0245-4C38-8FEE-F850969817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2131" y="2555518"/>
            <a:ext cx="5393531" cy="8358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803EC90-9011-4653-B133-43E37074C6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9211" y="2911668"/>
            <a:ext cx="5474002" cy="3218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76973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Problems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icrobial features are not independent </a:t>
            </a:r>
          </a:p>
          <a:p>
            <a:r>
              <a:rPr lang="de-DE" dirty="0"/>
              <a:t>Some microbial features are found in correlation!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35503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Notes 30.01. meeting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Review paper ML for microbiome paper</a:t>
            </a:r>
          </a:p>
          <a:p>
            <a:r>
              <a:rPr lang="de-DE" dirty="0"/>
              <a:t>COST action paper</a:t>
            </a:r>
          </a:p>
          <a:p>
            <a:r>
              <a:rPr lang="de-DE"/>
              <a:t>Confidentiality form, sign, scan and send to Elin</a:t>
            </a:r>
            <a:endParaRPr lang="de-DE" dirty="0"/>
          </a:p>
          <a:p>
            <a:r>
              <a:rPr lang="de-DE" dirty="0"/>
              <a:t>Meeting Oliver Friday, 4th February</a:t>
            </a:r>
          </a:p>
          <a:p>
            <a:r>
              <a:rPr lang="de-DE" dirty="0"/>
              <a:t>Literature Review: ~10-20 pages, include Figures and Tables, equations for major transformations, write for biologists</a:t>
            </a:r>
          </a:p>
          <a:p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45664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F1953-0627-4313-9F69-D3CE525D0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Notes: 01.04. mee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F6F84D-370D-481F-BDA8-9BEF48EC1F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ipeline:</a:t>
            </a:r>
          </a:p>
          <a:p>
            <a:pPr lvl="1"/>
            <a:r>
              <a:rPr lang="de-DE" dirty="0"/>
              <a:t>Test models and codacore on the same training&amp;test split (and set seed)</a:t>
            </a:r>
          </a:p>
          <a:p>
            <a:pPr lvl="1"/>
            <a:r>
              <a:rPr lang="de-DE" dirty="0"/>
              <a:t>Take out training and test split from run_ml?</a:t>
            </a:r>
          </a:p>
          <a:p>
            <a:pPr lvl="1"/>
            <a:r>
              <a:rPr lang="de-DE" dirty="0"/>
              <a:t>K_folds and CV_folds don‘t have to be the same for every data set</a:t>
            </a:r>
          </a:p>
          <a:p>
            <a:pPr lvl="1"/>
            <a:r>
              <a:rPr lang="de-DE" dirty="0"/>
              <a:t>Time comparison?</a:t>
            </a:r>
          </a:p>
          <a:p>
            <a:r>
              <a:rPr lang="de-DE" dirty="0"/>
              <a:t>CRC:</a:t>
            </a:r>
          </a:p>
          <a:p>
            <a:pPr lvl="1"/>
            <a:r>
              <a:rPr lang="de-DE" dirty="0"/>
              <a:t>Keep one country cohorts for extra validation </a:t>
            </a:r>
          </a:p>
          <a:p>
            <a:pPr lvl="1"/>
            <a:r>
              <a:rPr lang="de-DE" dirty="0"/>
              <a:t>BMI as outcome_column for continuous</a:t>
            </a:r>
          </a:p>
          <a:p>
            <a:pPr lvl="1"/>
            <a:r>
              <a:rPr lang="de-DE" dirty="0"/>
              <a:t>GROUP for classification </a:t>
            </a:r>
          </a:p>
          <a:p>
            <a:pPr marL="457200" lvl="1" indent="0">
              <a:buNone/>
            </a:pP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F0C8DB-9090-4B20-AED9-6E2044F98A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2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6DF03D-2B74-42A5-8C31-B3A7B6D53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397826-F4D6-4DDE-B171-FF032CD95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75932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21C35-E073-46BF-B8BA-AD632020D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839" y="628124"/>
            <a:ext cx="8911687" cy="1280890"/>
          </a:xfrm>
        </p:spPr>
        <p:txBody>
          <a:bodyPr/>
          <a:lstStyle/>
          <a:p>
            <a:r>
              <a:rPr lang="de-DE" b="1" dirty="0"/>
              <a:t>Literature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101FB2-294E-49F4-830F-4590B26163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www.youtube.com/watch?v=j1IbfQrT2Cs</a:t>
            </a:r>
            <a:r>
              <a:rPr lang="en-US" dirty="0"/>
              <a:t> (12.01.2022)</a:t>
            </a:r>
          </a:p>
          <a:p>
            <a:r>
              <a:rPr lang="en-US">
                <a:hlinkClick r:id="rId3"/>
              </a:rPr>
              <a:t>https://www.youtube.com/watch?v=fQPCeV4MUe4</a:t>
            </a:r>
            <a:r>
              <a:rPr lang="en-US"/>
              <a:t> (12.01.2022)</a:t>
            </a:r>
          </a:p>
          <a:p>
            <a:endParaRPr lang="en-US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C31B32-BDB7-4E4F-ABF6-074F07CBA3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73764-947C-4E64-9BD5-474B9E9D9329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8E6EF9-C928-441B-8DAA-81DBD51CC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FA85C6-0C31-406E-9635-38232E74B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57212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 descr="Address Book with solid fill">
            <a:extLst>
              <a:ext uri="{FF2B5EF4-FFF2-40B4-BE49-F238E27FC236}">
                <a16:creationId xmlns:a16="http://schemas.microsoft.com/office/drawing/2014/main" id="{6851D747-2228-4FF5-B24C-C5389E1FC2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790859">
            <a:off x="7602449" y="1181536"/>
            <a:ext cx="4311293" cy="4311293"/>
          </a:xfrm>
          <a:custGeom>
            <a:avLst/>
            <a:gdLst/>
            <a:ahLst/>
            <a:cxnLst/>
            <a:rect l="l" t="t" r="r" b="b"/>
            <a:pathLst>
              <a:path w="4114800" h="5712488">
                <a:moveTo>
                  <a:pt x="133155" y="0"/>
                </a:moveTo>
                <a:lnTo>
                  <a:pt x="3981645" y="0"/>
                </a:lnTo>
                <a:cubicBezTo>
                  <a:pt x="4055184" y="0"/>
                  <a:pt x="4114800" y="59616"/>
                  <a:pt x="4114800" y="133155"/>
                </a:cubicBezTo>
                <a:lnTo>
                  <a:pt x="4114800" y="5579333"/>
                </a:lnTo>
                <a:cubicBezTo>
                  <a:pt x="4114800" y="5652872"/>
                  <a:pt x="4055184" y="5712488"/>
                  <a:pt x="3981645" y="5712488"/>
                </a:cubicBezTo>
                <a:lnTo>
                  <a:pt x="133155" y="5712488"/>
                </a:lnTo>
                <a:cubicBezTo>
                  <a:pt x="59616" y="5712488"/>
                  <a:pt x="0" y="5652872"/>
                  <a:pt x="0" y="5579333"/>
                </a:cubicBezTo>
                <a:lnTo>
                  <a:pt x="0" y="133155"/>
                </a:lnTo>
                <a:cubicBezTo>
                  <a:pt x="0" y="59616"/>
                  <a:pt x="59616" y="0"/>
                  <a:pt x="133155" y="0"/>
                </a:cubicBezTo>
                <a:close/>
              </a:path>
            </a:pathLst>
          </a:cu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A3B93664-412E-47BE-9D0B-5944E25B61FD}"/>
              </a:ext>
            </a:extLst>
          </p:cNvPr>
          <p:cNvSpPr txBox="1"/>
          <p:nvPr/>
        </p:nvSpPr>
        <p:spPr>
          <a:xfrm>
            <a:off x="1735587" y="4901796"/>
            <a:ext cx="6254527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Bioinformatics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Lucas </a:t>
            </a:r>
            <a:r>
              <a:rPr lang="en-US" sz="2000" dirty="0" err="1"/>
              <a:t>Moitinho</a:t>
            </a:r>
            <a:r>
              <a:rPr lang="en-US" sz="2000" dirty="0"/>
              <a:t>-Silva (l.silva@ikmb.uni-kiel.de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4D5FC6B-D426-470A-8ABC-B88774E75115}"/>
              </a:ext>
            </a:extLst>
          </p:cNvPr>
          <p:cNvSpPr txBox="1"/>
          <p:nvPr/>
        </p:nvSpPr>
        <p:spPr>
          <a:xfrm>
            <a:off x="1795986" y="2286804"/>
            <a:ext cx="5998185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Supervisor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Oliver </a:t>
            </a:r>
            <a:r>
              <a:rPr lang="en-US" sz="2000" dirty="0" err="1"/>
              <a:t>Asmets</a:t>
            </a:r>
            <a:r>
              <a:rPr lang="en-US" sz="2000" dirty="0"/>
              <a:t> (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7287ECE-C4E5-4B11-BB50-8930F2931B5E}"/>
              </a:ext>
            </a:extLst>
          </p:cNvPr>
          <p:cNvSpPr txBox="1"/>
          <p:nvPr/>
        </p:nvSpPr>
        <p:spPr>
          <a:xfrm>
            <a:off x="1795986" y="979308"/>
            <a:ext cx="6194128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Project holder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Elin Org (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51BD5DE-2048-480E-95D0-CF0A8C48246C}"/>
              </a:ext>
            </a:extLst>
          </p:cNvPr>
          <p:cNvSpPr txBox="1"/>
          <p:nvPr/>
        </p:nvSpPr>
        <p:spPr>
          <a:xfrm>
            <a:off x="1735587" y="3520816"/>
            <a:ext cx="5840870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Supervisor Kiel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Tal Dagan ()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A103E6-1C0F-49CA-AC5E-C9ACBAF44F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4BA6AA-761D-44D9-9696-AC66CE044BF5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895326-8C62-4A87-A680-A74650023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jennifer.neumaier@t-online.d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12DB58-738B-4637-8F7F-69BE65B90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8520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0CBE27C3-DDC2-4388-8274-E35D8C5F2D93}"/>
              </a:ext>
            </a:extLst>
          </p:cNvPr>
          <p:cNvSpPr txBox="1"/>
          <p:nvPr/>
        </p:nvSpPr>
        <p:spPr>
          <a:xfrm>
            <a:off x="1694844" y="1292876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31.03.22</a:t>
            </a:r>
            <a:endParaRPr lang="en-US" sz="135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47926D7-E6E6-47B7-806D-995BB9606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411" y="652431"/>
            <a:ext cx="8911687" cy="719169"/>
          </a:xfrm>
        </p:spPr>
        <p:txBody>
          <a:bodyPr/>
          <a:lstStyle/>
          <a:p>
            <a:r>
              <a:rPr lang="de-DE" sz="3600" b="1" dirty="0"/>
              <a:t>Projektstrukturplan II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3EEEBEE-8BBD-4EBF-A2BB-CAD97D51A4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4AFEC-4BE7-4504-8846-4BF0CCFD9721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AFA7F5-6A91-4D4D-9891-387652586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2776D2-EE20-45AE-A069-38A103E4F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F2C4512-AA65-48E7-8ECD-C1D03FB41B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162" y="1793352"/>
            <a:ext cx="11932920" cy="422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3719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7E1F4F-614D-4C18-ACED-3D5E4C496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PC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04F1FA-59A5-4B2B-870B-F4C974AC84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2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64835F-39C0-45A5-8592-92AD53495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407CFC-DB8A-42F0-A4D2-7FA59992E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F55820F-4F3E-41C8-8DC6-59EA5560A8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97" r="1534"/>
          <a:stretch/>
        </p:blipFill>
        <p:spPr>
          <a:xfrm>
            <a:off x="6709770" y="787782"/>
            <a:ext cx="5288340" cy="515576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300D398-D659-49DC-9CBD-3F46ABA42A43}"/>
              </a:ext>
            </a:extLst>
          </p:cNvPr>
          <p:cNvSpPr txBox="1"/>
          <p:nvPr/>
        </p:nvSpPr>
        <p:spPr>
          <a:xfrm>
            <a:off x="1935480" y="2036605"/>
            <a:ext cx="452149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VPN:</a:t>
            </a:r>
          </a:p>
          <a:p>
            <a:r>
              <a:rPr lang="de-DE" i="1" dirty="0"/>
              <a:t>https://wiki.ut.ee/pages/viewpage.action?pageId=1710559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48CD27-F473-4017-9292-92C549603E85}"/>
              </a:ext>
            </a:extLst>
          </p:cNvPr>
          <p:cNvSpPr txBox="1"/>
          <p:nvPr/>
        </p:nvSpPr>
        <p:spPr>
          <a:xfrm>
            <a:off x="359072" y="3574900"/>
            <a:ext cx="60979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 err="1">
                <a:effectLst/>
                <a:latin typeface="Slack-Lato"/>
              </a:rPr>
              <a:t>MAin</a:t>
            </a:r>
            <a:r>
              <a:rPr lang="en-US" b="0" i="0" dirty="0">
                <a:effectLst/>
                <a:latin typeface="Slack-Lato"/>
              </a:rPr>
              <a:t> command for running codes in server:</a:t>
            </a:r>
            <a:br>
              <a:rPr lang="en-US" dirty="0"/>
            </a:br>
            <a:r>
              <a:rPr lang="en-US" b="0" i="0" dirty="0">
                <a:effectLst/>
                <a:latin typeface="Slack-Lato"/>
              </a:rPr>
              <a:t>R --slave --vanilla --</a:t>
            </a:r>
            <a:r>
              <a:rPr lang="en-US" b="0" i="0" dirty="0" err="1">
                <a:effectLst/>
                <a:latin typeface="Slack-Lato"/>
              </a:rPr>
              <a:t>args</a:t>
            </a:r>
            <a:r>
              <a:rPr lang="en-US" b="0" i="0" dirty="0">
                <a:effectLst/>
                <a:latin typeface="Slack-Lato"/>
              </a:rPr>
              <a:t> arg1 arg2 &lt; </a:t>
            </a:r>
            <a:r>
              <a:rPr lang="en-US" b="0" i="0" dirty="0" err="1">
                <a:effectLst/>
                <a:latin typeface="Slack-Lato"/>
              </a:rPr>
              <a:t>script_name.R</a:t>
            </a:r>
            <a:r>
              <a:rPr lang="en-US" b="0" i="0" dirty="0">
                <a:effectLst/>
                <a:latin typeface="Slack-Lato"/>
              </a:rPr>
              <a:t> &amp;</a:t>
            </a:r>
            <a:endParaRPr lang="de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5D63806-4477-427B-9A97-12C7EF82A101}"/>
              </a:ext>
            </a:extLst>
          </p:cNvPr>
          <p:cNvSpPr txBox="1"/>
          <p:nvPr/>
        </p:nvSpPr>
        <p:spPr>
          <a:xfrm>
            <a:off x="359072" y="4578355"/>
            <a:ext cx="609790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0" i="0" dirty="0">
                <a:effectLst/>
                <a:latin typeface="Slack-Lato"/>
              </a:rPr>
              <a:t>"top" - to look at the server load</a:t>
            </a:r>
            <a:br>
              <a:rPr lang="en-US" b="0" i="0" dirty="0">
                <a:effectLst/>
                <a:latin typeface="Slack-Lato"/>
              </a:rPr>
            </a:br>
            <a:r>
              <a:rPr lang="en-US" b="0" i="0" dirty="0">
                <a:effectLst/>
                <a:latin typeface="Slack-Lato"/>
              </a:rPr>
              <a:t>"q" to exit</a:t>
            </a:r>
          </a:p>
          <a:p>
            <a:pPr algn="r"/>
            <a:r>
              <a:rPr lang="en-US" b="0" i="0" u="none" strike="noStrike" dirty="0">
                <a:solidFill>
                  <a:srgbClr val="8E58B6"/>
                </a:solidFill>
                <a:effectLst/>
                <a:latin typeface="Slack-Lat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4:00 </a:t>
            </a:r>
            <a:r>
              <a:rPr lang="en-US" b="0" i="0" u="none" strike="noStrike" dirty="0" err="1">
                <a:effectLst/>
                <a:latin typeface="Slack-Lat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hr</a:t>
            </a:r>
            <a:endParaRPr lang="en-US" b="0" i="0" dirty="0">
              <a:effectLst/>
              <a:latin typeface="Slack-Lato"/>
            </a:endParaRPr>
          </a:p>
          <a:p>
            <a:pPr algn="l"/>
            <a:r>
              <a:rPr lang="en-US" b="0" i="0" dirty="0">
                <a:effectLst/>
                <a:latin typeface="Slack-Lato"/>
              </a:rPr>
              <a:t>Use "logout" to exit the sess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EDF7AD9-8FD4-4D61-AB63-F291F22FDF16}"/>
              </a:ext>
            </a:extLst>
          </p:cNvPr>
          <p:cNvSpPr txBox="1"/>
          <p:nvPr/>
        </p:nvSpPr>
        <p:spPr>
          <a:xfrm>
            <a:off x="301307" y="1421242"/>
            <a:ext cx="60979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https://linuxize.com/post/how-to-use-linux-screen/</a:t>
            </a:r>
          </a:p>
        </p:txBody>
      </p:sp>
    </p:spTree>
    <p:extLst>
      <p:ext uri="{BB962C8B-B14F-4D97-AF65-F5344CB8AC3E}">
        <p14:creationId xmlns:p14="http://schemas.microsoft.com/office/powerpoint/2010/main" val="12841018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46660"/>
            <a:ext cx="8911687" cy="1280890"/>
          </a:xfrm>
        </p:spPr>
        <p:txBody>
          <a:bodyPr/>
          <a:lstStyle/>
          <a:p>
            <a:r>
              <a:rPr lang="de-DE" b="1" dirty="0"/>
              <a:t>Compositional Data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C530B3-5BB1-4B06-9554-427D14B8D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A6BD5-D000-45AE-BE81-365EBD12526C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73EBA1-6BA1-4D66-BD1A-CFA0915090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40A761-393E-4509-B31E-FD3F25C90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27E494-A0F7-4C1C-B029-AC046AC5AC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4947" y="910099"/>
            <a:ext cx="3401258" cy="522033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 descr="Diagram, schematic&#10;&#10;Description automatically generated">
            <a:extLst>
              <a:ext uri="{FF2B5EF4-FFF2-40B4-BE49-F238E27FC236}">
                <a16:creationId xmlns:a16="http://schemas.microsoft.com/office/drawing/2014/main" id="{5870DB6C-5D85-4007-A864-0CACE32AC7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645" y="2749687"/>
            <a:ext cx="5343525" cy="317182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17870F6-A4B0-422F-BF27-C4A0FF8A7AE3}"/>
              </a:ext>
            </a:extLst>
          </p:cNvPr>
          <p:cNvSpPr txBox="1"/>
          <p:nvPr/>
        </p:nvSpPr>
        <p:spPr>
          <a:xfrm>
            <a:off x="1757702" y="1343922"/>
            <a:ext cx="49620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at is it/consequences/current solutions</a:t>
            </a:r>
          </a:p>
        </p:txBody>
      </p:sp>
    </p:spTree>
    <p:extLst>
      <p:ext uri="{BB962C8B-B14F-4D97-AF65-F5344CB8AC3E}">
        <p14:creationId xmlns:p14="http://schemas.microsoft.com/office/powerpoint/2010/main" val="6665753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dirty="0"/>
              <a:t>Log-Ratio Transformations</a:t>
            </a:r>
            <a:endParaRPr lang="en-US" b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33A140-A782-4B43-8154-51F77E0557E9}"/>
              </a:ext>
            </a:extLst>
          </p:cNvPr>
          <p:cNvSpPr txBox="1"/>
          <p:nvPr/>
        </p:nvSpPr>
        <p:spPr>
          <a:xfrm>
            <a:off x="1694844" y="1529462"/>
            <a:ext cx="49620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ich ones exist</a:t>
            </a:r>
          </a:p>
          <a:p>
            <a:r>
              <a:rPr lang="de-DE" dirty="0"/>
              <a:t>Characteristics</a:t>
            </a:r>
          </a:p>
          <a:p>
            <a:r>
              <a:rPr lang="de-DE" dirty="0"/>
              <a:t>What are they doing?</a:t>
            </a:r>
          </a:p>
          <a:p>
            <a:r>
              <a:rPr lang="de-DE" dirty="0"/>
              <a:t>Q: do they improve machine learning performances?</a:t>
            </a:r>
          </a:p>
        </p:txBody>
      </p:sp>
    </p:spTree>
    <p:extLst>
      <p:ext uri="{BB962C8B-B14F-4D97-AF65-F5344CB8AC3E}">
        <p14:creationId xmlns:p14="http://schemas.microsoft.com/office/powerpoint/2010/main" val="15919420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2488" y="604117"/>
            <a:ext cx="8911687" cy="1280890"/>
          </a:xfrm>
        </p:spPr>
        <p:txBody>
          <a:bodyPr/>
          <a:lstStyle/>
          <a:p>
            <a:r>
              <a:rPr lang="de-DE" b="1" dirty="0"/>
              <a:t>Machine Learning Approaches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C56A3D-FA67-4204-8A9D-9717BD964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B3D3E-FC47-4E47-BC37-6E33025EDD36}" type="datetime1">
              <a:rPr lang="en-US" smtClean="0"/>
              <a:t>4/22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C4EC76-6B75-4A77-8E51-985F9C51A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DBAC31-7442-4B6D-A796-BB5AC98738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496869-E982-4C1B-84BB-B581D8B02E19}"/>
              </a:ext>
            </a:extLst>
          </p:cNvPr>
          <p:cNvSpPr txBox="1"/>
          <p:nvPr/>
        </p:nvSpPr>
        <p:spPr>
          <a:xfrm>
            <a:off x="1702488" y="1412504"/>
            <a:ext cx="49620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ich ones do we use</a:t>
            </a:r>
          </a:p>
          <a:p>
            <a:r>
              <a:rPr lang="de-DE" dirty="0"/>
              <a:t>How do they work?</a:t>
            </a:r>
          </a:p>
        </p:txBody>
      </p:sp>
    </p:spTree>
    <p:extLst>
      <p:ext uri="{BB962C8B-B14F-4D97-AF65-F5344CB8AC3E}">
        <p14:creationId xmlns:p14="http://schemas.microsoft.com/office/powerpoint/2010/main" val="34136978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i="1" dirty="0"/>
              <a:t>selbal</a:t>
            </a:r>
            <a:endParaRPr lang="en-US" b="1" i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013BD1B-19C1-4D99-8B4A-2151F7BD14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1896" y="1819734"/>
            <a:ext cx="8358188" cy="89296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CA71858-F2F5-47D7-A96C-350DD764A8F1}"/>
              </a:ext>
            </a:extLst>
          </p:cNvPr>
          <p:cNvSpPr txBox="1"/>
          <p:nvPr/>
        </p:nvSpPr>
        <p:spPr>
          <a:xfrm>
            <a:off x="2679405" y="3429000"/>
            <a:ext cx="721067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irst thoughts:</a:t>
            </a:r>
          </a:p>
          <a:p>
            <a:pPr marL="285750" indent="-285750">
              <a:buFontTx/>
              <a:buChar char="-"/>
            </a:pPr>
            <a:r>
              <a:rPr lang="de-DE" dirty="0"/>
              <a:t>Imputes itself -&gt; no control over it</a:t>
            </a:r>
          </a:p>
          <a:p>
            <a:pPr marL="285750" indent="-285750">
              <a:buFontTx/>
              <a:buChar char="-"/>
            </a:pPr>
            <a:r>
              <a:rPr lang="de-DE" dirty="0"/>
              <a:t>Cannot handle negative values -&gt; cannot feed it transformed values (or not without adding an extra scaling step)</a:t>
            </a:r>
          </a:p>
          <a:p>
            <a:pPr marL="285750" indent="-285750">
              <a:buFontTx/>
              <a:buChar char="-"/>
            </a:pPr>
            <a:r>
              <a:rPr lang="de-DE" dirty="0"/>
              <a:t>Classes need to be converted to binary</a:t>
            </a:r>
          </a:p>
          <a:p>
            <a:pPr marL="285750" indent="-285750">
              <a:buFontTx/>
              <a:buChar char="-"/>
            </a:pPr>
            <a:r>
              <a:rPr lang="de-DE" dirty="0"/>
              <a:t>Takes a long time to process -&gt; a lot longer than glmnet (exact time measurement?)</a:t>
            </a:r>
          </a:p>
        </p:txBody>
      </p:sp>
    </p:spTree>
    <p:extLst>
      <p:ext uri="{BB962C8B-B14F-4D97-AF65-F5344CB8AC3E}">
        <p14:creationId xmlns:p14="http://schemas.microsoft.com/office/powerpoint/2010/main" val="41826557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heme/theme1.xml><?xml version="1.0" encoding="utf-8"?>
<a:theme xmlns:a="http://schemas.openxmlformats.org/drawingml/2006/main" name="Wisp">
  <a:themeElements>
    <a:clrScheme name="Paper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0</TotalTime>
  <Words>1820</Words>
  <Application>Microsoft Office PowerPoint</Application>
  <PresentationFormat>Widescreen</PresentationFormat>
  <Paragraphs>360</Paragraphs>
  <Slides>38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4" baseType="lpstr">
      <vt:lpstr>Arial</vt:lpstr>
      <vt:lpstr>Calibri</vt:lpstr>
      <vt:lpstr>Century Gothic</vt:lpstr>
      <vt:lpstr>Slack-Lato</vt:lpstr>
      <vt:lpstr>Wingdings 3</vt:lpstr>
      <vt:lpstr>Wisp</vt:lpstr>
      <vt:lpstr>Benchmarking machine learning performances with compositional data</vt:lpstr>
      <vt:lpstr>Goals</vt:lpstr>
      <vt:lpstr>Projektstrukturplan I</vt:lpstr>
      <vt:lpstr>Projektstrukturplan II</vt:lpstr>
      <vt:lpstr>HPC</vt:lpstr>
      <vt:lpstr>Compositional Data</vt:lpstr>
      <vt:lpstr>Log-Ratio Transformations</vt:lpstr>
      <vt:lpstr>Machine Learning Approaches</vt:lpstr>
      <vt:lpstr>selbal</vt:lpstr>
      <vt:lpstr>CoDaCoRe</vt:lpstr>
      <vt:lpstr>Pipeline</vt:lpstr>
      <vt:lpstr>Pipeline</vt:lpstr>
      <vt:lpstr>PCOS</vt:lpstr>
      <vt:lpstr>PCOS</vt:lpstr>
      <vt:lpstr>PCOS</vt:lpstr>
      <vt:lpstr>PCOS</vt:lpstr>
      <vt:lpstr>PCOS classification</vt:lpstr>
      <vt:lpstr>PCOS regression</vt:lpstr>
      <vt:lpstr>CRC classification</vt:lpstr>
      <vt:lpstr>CRC regression</vt:lpstr>
      <vt:lpstr>CRC classification</vt:lpstr>
      <vt:lpstr>CRC classification</vt:lpstr>
      <vt:lpstr>CRC classification</vt:lpstr>
      <vt:lpstr>IDEA</vt:lpstr>
      <vt:lpstr>Concept</vt:lpstr>
      <vt:lpstr>CRC</vt:lpstr>
      <vt:lpstr>PCOS</vt:lpstr>
      <vt:lpstr>Pre-Processing</vt:lpstr>
      <vt:lpstr>Transformations</vt:lpstr>
      <vt:lpstr>Hierarchy dimensionality reduction</vt:lpstr>
      <vt:lpstr>mikropml</vt:lpstr>
      <vt:lpstr>Data set</vt:lpstr>
      <vt:lpstr>Amalgams</vt:lpstr>
      <vt:lpstr>Problems</vt:lpstr>
      <vt:lpstr>Notes 30.01. meeting</vt:lpstr>
      <vt:lpstr>Notes: 01.04. meeting</vt:lpstr>
      <vt:lpstr>Literatur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nchmarking compositional data analysis</dc:title>
  <dc:creator>Jennifer Neumaier</dc:creator>
  <cp:lastModifiedBy>Jennifer Neumaier</cp:lastModifiedBy>
  <cp:revision>113</cp:revision>
  <dcterms:created xsi:type="dcterms:W3CDTF">2022-01-12T16:41:21Z</dcterms:created>
  <dcterms:modified xsi:type="dcterms:W3CDTF">2022-04-22T23:16:51Z</dcterms:modified>
</cp:coreProperties>
</file>